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9" r:id="rId5"/>
  </p:sldMasterIdLst>
  <p:notesMasterIdLst>
    <p:notesMasterId r:id="rId24"/>
  </p:notesMasterIdLst>
  <p:handoutMasterIdLst>
    <p:handoutMasterId r:id="rId25"/>
  </p:handoutMasterIdLst>
  <p:sldIdLst>
    <p:sldId id="1063" r:id="rId6"/>
    <p:sldId id="1117" r:id="rId7"/>
    <p:sldId id="2076137431" r:id="rId8"/>
    <p:sldId id="1118" r:id="rId9"/>
    <p:sldId id="1104" r:id="rId10"/>
    <p:sldId id="1119" r:id="rId11"/>
    <p:sldId id="283" r:id="rId12"/>
    <p:sldId id="271" r:id="rId13"/>
    <p:sldId id="1123" r:id="rId14"/>
    <p:sldId id="1124" r:id="rId15"/>
    <p:sldId id="1051" r:id="rId16"/>
    <p:sldId id="1065" r:id="rId17"/>
    <p:sldId id="1054" r:id="rId18"/>
    <p:sldId id="1068" r:id="rId19"/>
    <p:sldId id="1125" r:id="rId20"/>
    <p:sldId id="1126" r:id="rId21"/>
    <p:sldId id="1075" r:id="rId22"/>
    <p:sldId id="1076" r:id="rId23"/>
  </p:sldIdLst>
  <p:sldSz cx="9144000" cy="5143500" type="screen16x9"/>
  <p:notesSz cx="6797675" cy="9926638"/>
  <p:defaultTextStyle>
    <a:defPPr>
      <a:defRPr lang="fi-FI"/>
    </a:defPPr>
    <a:lvl1pPr marL="0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1pPr>
    <a:lvl2pPr marL="339932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2pPr>
    <a:lvl3pPr marL="67987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3pPr>
    <a:lvl4pPr marL="1019807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4pPr>
    <a:lvl5pPr marL="135974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5pPr>
    <a:lvl6pPr marL="169968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ukonen Sini" initials="KS" lastIdx="7" clrIdx="0">
    <p:extLst>
      <p:ext uri="{19B8F6BF-5375-455C-9EA6-DF929625EA0E}">
        <p15:presenceInfo xmlns:p15="http://schemas.microsoft.com/office/powerpoint/2012/main" userId="S-1-5-21-1871869801-2214748161-1963216912-12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33333"/>
    <a:srgbClr val="FFFF00"/>
    <a:srgbClr val="85E869"/>
    <a:srgbClr val="FF805C"/>
    <a:srgbClr val="FF00B8"/>
    <a:srgbClr val="8A0FA6"/>
    <a:srgbClr val="141F94"/>
    <a:srgbClr val="0F78B2"/>
    <a:srgbClr val="0A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1E4E33-C965-4A4E-9C16-454927509DFD}" v="2" dt="2021-02-04T09:44:59.897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Normaali tyyli 2 - Korostu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Normaali tyyli 2 - Korostu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Normaali tyyli 2 - Korostu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212" autoAdjust="0"/>
    <p:restoredTop sz="86016" autoAdjust="0"/>
  </p:normalViewPr>
  <p:slideViewPr>
    <p:cSldViewPr showGuides="1">
      <p:cViewPr varScale="1">
        <p:scale>
          <a:sx n="93" d="100"/>
          <a:sy n="93" d="100"/>
        </p:scale>
        <p:origin x="830" y="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2" d="100"/>
          <a:sy n="82" d="100"/>
        </p:scale>
        <p:origin x="3972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23.10.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A$2:$A$5</c:f>
              <c:strCache>
                <c:ptCount val="4"/>
                <c:pt idx="0">
                  <c:v>Yrityksessämme tuotannon hiljaisin aika on jo takana päin</c:v>
                </c:pt>
                <c:pt idx="1">
                  <c:v>Yrityksessämme tuotannon hiljaisin aika on tällä hetkellä</c:v>
                </c:pt>
                <c:pt idx="2">
                  <c:v>Yrityksessämme tuotannon hiljaisin aika on vasta edessä</c:v>
                </c:pt>
                <c:pt idx="3">
                  <c:v>Yrityksessämme ei ole ollut, eikä arvion mukaan ole tänä vuonna odotettavissa normaalista poikkeavaa "hiljaista aikaa"</c:v>
                </c:pt>
              </c:strCache>
            </c:strRef>
          </c:cat>
          <c:val>
            <c:numRef>
              <c:f>Taul1!$B$2:$B$5</c:f>
              <c:numCache>
                <c:formatCode>0.0\ %</c:formatCode>
                <c:ptCount val="4"/>
                <c:pt idx="0">
                  <c:v>0.20362903225806453</c:v>
                </c:pt>
                <c:pt idx="1">
                  <c:v>0.16129032258064516</c:v>
                </c:pt>
                <c:pt idx="2">
                  <c:v>0.45967741935483869</c:v>
                </c:pt>
                <c:pt idx="3">
                  <c:v>0.17540322580645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BE-4A15-BA5A-AFE960E07419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7.12.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5</c:f>
              <c:strCache>
                <c:ptCount val="4"/>
                <c:pt idx="0">
                  <c:v>Yrityksessämme tuotannon hiljaisin aika on jo takana päin</c:v>
                </c:pt>
                <c:pt idx="1">
                  <c:v>Yrityksessämme tuotannon hiljaisin aika on tällä hetkellä</c:v>
                </c:pt>
                <c:pt idx="2">
                  <c:v>Yrityksessämme tuotannon hiljaisin aika on vasta edessä</c:v>
                </c:pt>
                <c:pt idx="3">
                  <c:v>Yrityksessämme ei ole ollut, eikä arvion mukaan ole tänä vuonna odotettavissa normaalista poikkeavaa "hiljaista aikaa"</c:v>
                </c:pt>
              </c:strCache>
            </c:strRef>
          </c:cat>
          <c:val>
            <c:numRef>
              <c:f>Taul1!$C$2:$C$5</c:f>
              <c:numCache>
                <c:formatCode>0.0\ %</c:formatCode>
                <c:ptCount val="4"/>
                <c:pt idx="0">
                  <c:v>0.21052631578947367</c:v>
                </c:pt>
                <c:pt idx="1">
                  <c:v>0.18045112781954886</c:v>
                </c:pt>
                <c:pt idx="2">
                  <c:v>0.40601503759398494</c:v>
                </c:pt>
                <c:pt idx="3">
                  <c:v>0.203007518796992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04-4B8C-BD85-24999C251CAE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4.2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5</c:f>
              <c:strCache>
                <c:ptCount val="4"/>
                <c:pt idx="0">
                  <c:v>Yrityksessämme tuotannon hiljaisin aika on jo takana päin</c:v>
                </c:pt>
                <c:pt idx="1">
                  <c:v>Yrityksessämme tuotannon hiljaisin aika on tällä hetkellä</c:v>
                </c:pt>
                <c:pt idx="2">
                  <c:v>Yrityksessämme tuotannon hiljaisin aika on vasta edessä</c:v>
                </c:pt>
                <c:pt idx="3">
                  <c:v>Yrityksessämme ei ole ollut, eikä arvion mukaan ole tänä vuonna odotettavissa normaalista poikkeavaa "hiljaista aikaa"</c:v>
                </c:pt>
              </c:strCache>
            </c:strRef>
          </c:cat>
          <c:val>
            <c:numRef>
              <c:f>Taul1!$D$2:$D$5</c:f>
              <c:numCache>
                <c:formatCode>0.0\ %</c:formatCode>
                <c:ptCount val="4"/>
                <c:pt idx="0">
                  <c:v>0.33</c:v>
                </c:pt>
                <c:pt idx="1">
                  <c:v>0.24</c:v>
                </c:pt>
                <c:pt idx="2">
                  <c:v>0.18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FB-4A53-87C7-D11AAAA982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17"/>
        <c:axId val="409125328"/>
        <c:axId val="409127296"/>
      </c:barChart>
      <c:catAx>
        <c:axId val="4091253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7296"/>
        <c:crosses val="autoZero"/>
        <c:auto val="1"/>
        <c:lblAlgn val="ctr"/>
        <c:lblOffset val="100"/>
        <c:noMultiLvlLbl val="0"/>
      </c:catAx>
      <c:valAx>
        <c:axId val="409127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5328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650776257835153"/>
          <c:y val="4.1783025563614733E-2"/>
          <c:w val="0.49031637613741841"/>
          <c:h val="0.7908512820390115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ul1!$A$2</c:f>
              <c:strCache>
                <c:ptCount val="1"/>
                <c:pt idx="0">
                  <c:v>4.2.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2:$J$2</c:f>
              <c:numCache>
                <c:formatCode>0.0\ %</c:formatCode>
                <c:ptCount val="9"/>
                <c:pt idx="0">
                  <c:v>4.5889101338432124E-2</c:v>
                </c:pt>
                <c:pt idx="1">
                  <c:v>2.4856596558317401E-2</c:v>
                </c:pt>
                <c:pt idx="2">
                  <c:v>7.4569789674952203E-2</c:v>
                </c:pt>
                <c:pt idx="3">
                  <c:v>0.13384321223709369</c:v>
                </c:pt>
                <c:pt idx="4">
                  <c:v>4.780114722753346E-2</c:v>
                </c:pt>
                <c:pt idx="5">
                  <c:v>1.338432122370937E-2</c:v>
                </c:pt>
                <c:pt idx="6">
                  <c:v>1.1472275334608031E-2</c:v>
                </c:pt>
                <c:pt idx="7">
                  <c:v>1.1472275334608031E-2</c:v>
                </c:pt>
                <c:pt idx="8">
                  <c:v>3.4416826003824091E-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414E-48AE-A4F0-BFE891DEC9B3}"/>
            </c:ext>
          </c:extLst>
        </c:ser>
        <c:ser>
          <c:idx val="1"/>
          <c:order val="1"/>
          <c:tx>
            <c:strRef>
              <c:f>Taul1!$A$3</c:f>
              <c:strCache>
                <c:ptCount val="1"/>
                <c:pt idx="0">
                  <c:v>7.12.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3:$J$3</c:f>
              <c:numCache>
                <c:formatCode>0.0\ %</c:formatCode>
                <c:ptCount val="9"/>
                <c:pt idx="0">
                  <c:v>1.8796992481203006E-2</c:v>
                </c:pt>
                <c:pt idx="1">
                  <c:v>4.5112781954887216E-2</c:v>
                </c:pt>
                <c:pt idx="2">
                  <c:v>9.2105263157894732E-2</c:v>
                </c:pt>
                <c:pt idx="3">
                  <c:v>0.24060150375939848</c:v>
                </c:pt>
                <c:pt idx="4">
                  <c:v>5.0751879699248117E-2</c:v>
                </c:pt>
                <c:pt idx="5">
                  <c:v>1.5037593984962405E-2</c:v>
                </c:pt>
                <c:pt idx="6">
                  <c:v>1.5037593984962405E-2</c:v>
                </c:pt>
                <c:pt idx="7">
                  <c:v>3.007518796992481E-2</c:v>
                </c:pt>
                <c:pt idx="8">
                  <c:v>3.57142857142857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CB-4A12-BC93-89E924E957E3}"/>
            </c:ext>
          </c:extLst>
        </c:ser>
        <c:ser>
          <c:idx val="2"/>
          <c:order val="2"/>
          <c:tx>
            <c:strRef>
              <c:f>Taul1!$A$4</c:f>
              <c:strCache>
                <c:ptCount val="1"/>
                <c:pt idx="0">
                  <c:v>23.10.20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4:$J$4</c:f>
              <c:numCache>
                <c:formatCode>0.0\ %</c:formatCode>
                <c:ptCount val="9"/>
                <c:pt idx="0">
                  <c:v>1.2096774193548387E-2</c:v>
                </c:pt>
                <c:pt idx="1">
                  <c:v>4.2338709677419352E-2</c:v>
                </c:pt>
                <c:pt idx="2">
                  <c:v>8.8709677419354843E-2</c:v>
                </c:pt>
                <c:pt idx="3">
                  <c:v>0.26209677419354838</c:v>
                </c:pt>
                <c:pt idx="4">
                  <c:v>6.6532258064516125E-2</c:v>
                </c:pt>
                <c:pt idx="5">
                  <c:v>8.0645161290322578E-3</c:v>
                </c:pt>
                <c:pt idx="6">
                  <c:v>2.0161290322580645E-2</c:v>
                </c:pt>
                <c:pt idx="7">
                  <c:v>2.4193548387096774E-2</c:v>
                </c:pt>
                <c:pt idx="8">
                  <c:v>2.62096774193548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11-4400-908D-2F7BB5A98BE9}"/>
            </c:ext>
          </c:extLst>
        </c:ser>
        <c:ser>
          <c:idx val="3"/>
          <c:order val="3"/>
          <c:tx>
            <c:strRef>
              <c:f>Taul1!$A$5</c:f>
              <c:strCache>
                <c:ptCount val="1"/>
                <c:pt idx="0">
                  <c:v>7.9.2020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5:$J$5</c:f>
              <c:numCache>
                <c:formatCode>0.0\ %</c:formatCode>
                <c:ptCount val="9"/>
                <c:pt idx="0">
                  <c:v>2.2452504317789293E-2</c:v>
                </c:pt>
                <c:pt idx="1">
                  <c:v>6.2176165803108807E-2</c:v>
                </c:pt>
                <c:pt idx="2">
                  <c:v>9.499136442141623E-2</c:v>
                </c:pt>
                <c:pt idx="3">
                  <c:v>0.27633851468048359</c:v>
                </c:pt>
                <c:pt idx="4">
                  <c:v>5.6994818652849742E-2</c:v>
                </c:pt>
                <c:pt idx="5">
                  <c:v>8.6355785837651123E-3</c:v>
                </c:pt>
                <c:pt idx="6">
                  <c:v>2.4179620034542316E-2</c:v>
                </c:pt>
                <c:pt idx="7">
                  <c:v>1.7271157167530225E-2</c:v>
                </c:pt>
                <c:pt idx="8">
                  <c:v>4.835924006908463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1E-4F9C-A94F-2B969417AA93}"/>
            </c:ext>
          </c:extLst>
        </c:ser>
        <c:ser>
          <c:idx val="4"/>
          <c:order val="4"/>
          <c:tx>
            <c:strRef>
              <c:f>Taul1!$A$6</c:f>
              <c:strCache>
                <c:ptCount val="1"/>
                <c:pt idx="0">
                  <c:v>6.8.2020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6:$J$6</c:f>
              <c:numCache>
                <c:formatCode>0.0\ %</c:formatCode>
                <c:ptCount val="9"/>
                <c:pt idx="0">
                  <c:v>2.5700934579439252E-2</c:v>
                </c:pt>
                <c:pt idx="1">
                  <c:v>5.3738317757009345E-2</c:v>
                </c:pt>
                <c:pt idx="2">
                  <c:v>8.8785046728971959E-2</c:v>
                </c:pt>
                <c:pt idx="3">
                  <c:v>0.24299065420560748</c:v>
                </c:pt>
                <c:pt idx="4">
                  <c:v>7.9439252336448593E-2</c:v>
                </c:pt>
                <c:pt idx="5">
                  <c:v>2.5700934579439252E-2</c:v>
                </c:pt>
                <c:pt idx="6">
                  <c:v>9.3457943925233638E-3</c:v>
                </c:pt>
                <c:pt idx="7">
                  <c:v>2.1028037383177569E-2</c:v>
                </c:pt>
                <c:pt idx="8">
                  <c:v>2.80373831775700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E9-4FF1-8B84-888C7CEB58EA}"/>
            </c:ext>
          </c:extLst>
        </c:ser>
        <c:ser>
          <c:idx val="5"/>
          <c:order val="5"/>
          <c:tx>
            <c:strRef>
              <c:f>Taul1!$A$7</c:f>
              <c:strCache>
                <c:ptCount val="1"/>
                <c:pt idx="0">
                  <c:v>15.6.2020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7:$J$7</c:f>
              <c:numCache>
                <c:formatCode>0.0\ %</c:formatCode>
                <c:ptCount val="9"/>
                <c:pt idx="0">
                  <c:v>3.2136105860113423E-2</c:v>
                </c:pt>
                <c:pt idx="1">
                  <c:v>6.4272211720226846E-2</c:v>
                </c:pt>
                <c:pt idx="2">
                  <c:v>9.0737240075614373E-2</c:v>
                </c:pt>
                <c:pt idx="3">
                  <c:v>0.23440453686200377</c:v>
                </c:pt>
                <c:pt idx="4">
                  <c:v>5.2930056710775046E-2</c:v>
                </c:pt>
                <c:pt idx="5">
                  <c:v>1.5122873345935728E-2</c:v>
                </c:pt>
                <c:pt idx="6">
                  <c:v>9.4517958412098299E-3</c:v>
                </c:pt>
                <c:pt idx="7">
                  <c:v>2.6465028355387523E-2</c:v>
                </c:pt>
                <c:pt idx="8">
                  <c:v>2.83553875236294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5B-480D-BBE3-6B115234BB95}"/>
            </c:ext>
          </c:extLst>
        </c:ser>
        <c:ser>
          <c:idx val="6"/>
          <c:order val="6"/>
          <c:tx>
            <c:strRef>
              <c:f>Taul1!$A$8</c:f>
              <c:strCache>
                <c:ptCount val="1"/>
                <c:pt idx="0">
                  <c:v>26.5.2020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8:$J$8</c:f>
              <c:numCache>
                <c:formatCode>0.0\ %</c:formatCode>
                <c:ptCount val="9"/>
                <c:pt idx="0">
                  <c:v>3.4545454545454546E-2</c:v>
                </c:pt>
                <c:pt idx="1">
                  <c:v>5.8181818181818182E-2</c:v>
                </c:pt>
                <c:pt idx="2">
                  <c:v>9.0909090909090912E-2</c:v>
                </c:pt>
                <c:pt idx="3">
                  <c:v>0.24727272727272728</c:v>
                </c:pt>
                <c:pt idx="4">
                  <c:v>7.2727272727272724E-2</c:v>
                </c:pt>
                <c:pt idx="5">
                  <c:v>1.8181818181818181E-2</c:v>
                </c:pt>
                <c:pt idx="6">
                  <c:v>1.2727272727272728E-2</c:v>
                </c:pt>
                <c:pt idx="7">
                  <c:v>1.4545454545454545E-2</c:v>
                </c:pt>
                <c:pt idx="8">
                  <c:v>4.36363636363636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C8-45B6-A876-6ABFF17323CB}"/>
            </c:ext>
          </c:extLst>
        </c:ser>
        <c:ser>
          <c:idx val="7"/>
          <c:order val="7"/>
          <c:tx>
            <c:strRef>
              <c:f>Taul1!$A$9</c:f>
              <c:strCache>
                <c:ptCount val="1"/>
                <c:pt idx="0">
                  <c:v>11.5.2020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9:$J$9</c:f>
              <c:numCache>
                <c:formatCode>0.0\ %</c:formatCode>
                <c:ptCount val="9"/>
                <c:pt idx="0">
                  <c:v>4.1095890410958902E-2</c:v>
                </c:pt>
                <c:pt idx="1">
                  <c:v>7.7054794520547948E-2</c:v>
                </c:pt>
                <c:pt idx="2">
                  <c:v>0.11815068493150685</c:v>
                </c:pt>
                <c:pt idx="3">
                  <c:v>0.24143835616438356</c:v>
                </c:pt>
                <c:pt idx="4">
                  <c:v>7.5342465753424653E-2</c:v>
                </c:pt>
                <c:pt idx="5">
                  <c:v>2.7397260273972601E-2</c:v>
                </c:pt>
                <c:pt idx="6">
                  <c:v>1.1986301369863013E-2</c:v>
                </c:pt>
                <c:pt idx="7">
                  <c:v>2.7397260273972601E-2</c:v>
                </c:pt>
                <c:pt idx="8">
                  <c:v>3.938356164383561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22-47D2-A88E-ABFC38FCD8B2}"/>
            </c:ext>
          </c:extLst>
        </c:ser>
        <c:ser>
          <c:idx val="8"/>
          <c:order val="8"/>
          <c:tx>
            <c:strRef>
              <c:f>Taul1!$A$10</c:f>
              <c:strCache>
                <c:ptCount val="1"/>
                <c:pt idx="0">
                  <c:v>28.4.2020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10:$J$10</c:f>
              <c:numCache>
                <c:formatCode>0.0\ %</c:formatCode>
                <c:ptCount val="9"/>
                <c:pt idx="0">
                  <c:v>5.6250000000000001E-2</c:v>
                </c:pt>
                <c:pt idx="1">
                  <c:v>8.9062500000000003E-2</c:v>
                </c:pt>
                <c:pt idx="2">
                  <c:v>0.1171875</c:v>
                </c:pt>
                <c:pt idx="3">
                  <c:v>0.24531249999999999</c:v>
                </c:pt>
                <c:pt idx="4">
                  <c:v>8.2812499999999997E-2</c:v>
                </c:pt>
                <c:pt idx="5">
                  <c:v>1.8749999999999999E-2</c:v>
                </c:pt>
                <c:pt idx="6">
                  <c:v>1.5625E-2</c:v>
                </c:pt>
                <c:pt idx="7">
                  <c:v>2.1874999999999999E-2</c:v>
                </c:pt>
                <c:pt idx="8">
                  <c:v>4.53124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04-43E3-BB14-AC7CFEE2744A}"/>
            </c:ext>
          </c:extLst>
        </c:ser>
        <c:ser>
          <c:idx val="9"/>
          <c:order val="9"/>
          <c:tx>
            <c:strRef>
              <c:f>Taul1!$A$11</c:f>
              <c:strCache>
                <c:ptCount val="1"/>
                <c:pt idx="0">
                  <c:v>9.4.2020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11:$J$11</c:f>
              <c:numCache>
                <c:formatCode>0.0\ %</c:formatCode>
                <c:ptCount val="9"/>
                <c:pt idx="0">
                  <c:v>3.9383561643835614E-2</c:v>
                </c:pt>
                <c:pt idx="1">
                  <c:v>6.1643835616438353E-2</c:v>
                </c:pt>
                <c:pt idx="2">
                  <c:v>9.9315068493150679E-2</c:v>
                </c:pt>
                <c:pt idx="3">
                  <c:v>0.19006849315068494</c:v>
                </c:pt>
                <c:pt idx="4">
                  <c:v>9.0753424657534248E-2</c:v>
                </c:pt>
                <c:pt idx="5">
                  <c:v>1.8835616438356163E-2</c:v>
                </c:pt>
                <c:pt idx="6">
                  <c:v>1.7123287671232876E-2</c:v>
                </c:pt>
                <c:pt idx="7">
                  <c:v>3.2534246575342464E-2</c:v>
                </c:pt>
                <c:pt idx="8">
                  <c:v>4.9657534246575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EB-4B07-96B6-F5C957842E4C}"/>
            </c:ext>
          </c:extLst>
        </c:ser>
        <c:ser>
          <c:idx val="10"/>
          <c:order val="10"/>
          <c:tx>
            <c:strRef>
              <c:f>Taul1!$A$12</c:f>
              <c:strCache>
                <c:ptCount val="1"/>
                <c:pt idx="0">
                  <c:v>2.4.2020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12:$J$12</c:f>
              <c:numCache>
                <c:formatCode>0.0\ %</c:formatCode>
                <c:ptCount val="9"/>
                <c:pt idx="0">
                  <c:v>4.8192771084337352E-2</c:v>
                </c:pt>
                <c:pt idx="1">
                  <c:v>6.7125645438898457E-2</c:v>
                </c:pt>
                <c:pt idx="2">
                  <c:v>0.12392426850258176</c:v>
                </c:pt>
                <c:pt idx="3">
                  <c:v>0.16006884681583478</c:v>
                </c:pt>
                <c:pt idx="4">
                  <c:v>0.10154905335628227</c:v>
                </c:pt>
                <c:pt idx="5">
                  <c:v>2.5817555938037865E-2</c:v>
                </c:pt>
                <c:pt idx="6">
                  <c:v>2.9259896729776247E-2</c:v>
                </c:pt>
                <c:pt idx="7">
                  <c:v>2.409638554216867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01-4BA7-98A6-C86086FB4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09125328"/>
        <c:axId val="409127296"/>
        <c:extLst/>
      </c:barChart>
      <c:catAx>
        <c:axId val="4091253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7296"/>
        <c:crosses val="autoZero"/>
        <c:auto val="1"/>
        <c:lblAlgn val="ctr"/>
        <c:lblOffset val="100"/>
        <c:noMultiLvlLbl val="0"/>
      </c:catAx>
      <c:valAx>
        <c:axId val="409127296"/>
        <c:scaling>
          <c:orientation val="minMax"/>
          <c:max val="0.30000000000000004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5328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5339980145575228E-3"/>
          <c:y val="0.90877512327787091"/>
          <c:w val="0.98019507689109786"/>
          <c:h val="8.742641985270960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600" b="1">
                <a:solidFill>
                  <a:srgbClr val="000000"/>
                </a:solidFill>
              </a:defRPr>
            </a:pPr>
            <a:r>
              <a:rPr lang="en-US" sz="1050" b="0" err="1">
                <a:solidFill>
                  <a:srgbClr val="000000"/>
                </a:solidFill>
              </a:rPr>
              <a:t>Saldoluku</a:t>
            </a:r>
            <a:r>
              <a:rPr lang="en-US" sz="1050" b="0">
                <a:solidFill>
                  <a:srgbClr val="000000"/>
                </a:solidFill>
              </a:rPr>
              <a:t> </a:t>
            </a:r>
          </a:p>
        </c:rich>
      </c:tx>
      <c:layout>
        <c:manualLayout>
          <c:xMode val="edge"/>
          <c:yMode val="edge"/>
          <c:x val="0.87328608328045276"/>
          <c:y val="0.2377175968652132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4674120615740283E-2"/>
          <c:y val="3.5687247530145093E-2"/>
          <c:w val="0.93307819253678703"/>
          <c:h val="0.93088245034184414"/>
        </c:manualLayout>
      </c:layout>
      <c:lineChart>
        <c:grouping val="standar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Saldoluku</c:v>
                </c:pt>
              </c:strCache>
            </c:strRef>
          </c:tx>
          <c:spPr>
            <a:ln w="41275"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Taul1!$A$2:$A$58</c:f>
              <c:strCache>
                <c:ptCount val="54"/>
                <c:pt idx="1">
                  <c:v>08(1)</c:v>
                </c:pt>
                <c:pt idx="2">
                  <c:v>08(4)</c:v>
                </c:pt>
                <c:pt idx="3">
                  <c:v>08(7)</c:v>
                </c:pt>
                <c:pt idx="4">
                  <c:v>08(10)</c:v>
                </c:pt>
                <c:pt idx="5">
                  <c:v>09(1)</c:v>
                </c:pt>
                <c:pt idx="6">
                  <c:v>09(4)</c:v>
                </c:pt>
                <c:pt idx="7">
                  <c:v>09(7)</c:v>
                </c:pt>
                <c:pt idx="8">
                  <c:v>09(10)</c:v>
                </c:pt>
                <c:pt idx="9">
                  <c:v>10(1)</c:v>
                </c:pt>
                <c:pt idx="10">
                  <c:v>10(4)</c:v>
                </c:pt>
                <c:pt idx="11">
                  <c:v>10(7)</c:v>
                </c:pt>
                <c:pt idx="12">
                  <c:v>10(10)</c:v>
                </c:pt>
                <c:pt idx="13">
                  <c:v>11(1)</c:v>
                </c:pt>
                <c:pt idx="14">
                  <c:v>11(4)</c:v>
                </c:pt>
                <c:pt idx="15">
                  <c:v>11(7)</c:v>
                </c:pt>
                <c:pt idx="16">
                  <c:v>11(10)</c:v>
                </c:pt>
                <c:pt idx="17">
                  <c:v>12(1)</c:v>
                </c:pt>
                <c:pt idx="18">
                  <c:v>12(4)</c:v>
                </c:pt>
                <c:pt idx="19">
                  <c:v>12(7)</c:v>
                </c:pt>
                <c:pt idx="20">
                  <c:v>12(10)</c:v>
                </c:pt>
                <c:pt idx="21">
                  <c:v>13(1)</c:v>
                </c:pt>
                <c:pt idx="22">
                  <c:v>13(4)</c:v>
                </c:pt>
                <c:pt idx="23">
                  <c:v>13(7)</c:v>
                </c:pt>
                <c:pt idx="24">
                  <c:v>13(10)</c:v>
                </c:pt>
                <c:pt idx="25">
                  <c:v>14(1)</c:v>
                </c:pt>
                <c:pt idx="26">
                  <c:v>14(4)</c:v>
                </c:pt>
                <c:pt idx="27">
                  <c:v>14(7)</c:v>
                </c:pt>
                <c:pt idx="28">
                  <c:v>14(10)</c:v>
                </c:pt>
                <c:pt idx="29">
                  <c:v>15(1)</c:v>
                </c:pt>
                <c:pt idx="30">
                  <c:v>15(4)</c:v>
                </c:pt>
                <c:pt idx="31">
                  <c:v>15(7)</c:v>
                </c:pt>
                <c:pt idx="32">
                  <c:v>15(10)</c:v>
                </c:pt>
                <c:pt idx="33">
                  <c:v>16(1)</c:v>
                </c:pt>
                <c:pt idx="34">
                  <c:v>16(4)</c:v>
                </c:pt>
                <c:pt idx="35">
                  <c:v>16(7)</c:v>
                </c:pt>
                <c:pt idx="36">
                  <c:v>16(10)</c:v>
                </c:pt>
                <c:pt idx="37">
                  <c:v>17(1)</c:v>
                </c:pt>
                <c:pt idx="38">
                  <c:v>17(4)</c:v>
                </c:pt>
                <c:pt idx="39">
                  <c:v>17(7)</c:v>
                </c:pt>
                <c:pt idx="40">
                  <c:v>17(10)</c:v>
                </c:pt>
                <c:pt idx="41">
                  <c:v>18(1)</c:v>
                </c:pt>
                <c:pt idx="42">
                  <c:v>18(4)</c:v>
                </c:pt>
                <c:pt idx="43">
                  <c:v>18(7)</c:v>
                </c:pt>
                <c:pt idx="44">
                  <c:v>18(10)</c:v>
                </c:pt>
                <c:pt idx="45">
                  <c:v>19(1)</c:v>
                </c:pt>
                <c:pt idx="46">
                  <c:v>19(4)</c:v>
                </c:pt>
                <c:pt idx="47">
                  <c:v>19(7)</c:v>
                </c:pt>
                <c:pt idx="48">
                  <c:v>19(10)</c:v>
                </c:pt>
                <c:pt idx="49">
                  <c:v>20(1)</c:v>
                </c:pt>
                <c:pt idx="50">
                  <c:v>20(4)</c:v>
                </c:pt>
                <c:pt idx="51">
                  <c:v>20(07)</c:v>
                </c:pt>
                <c:pt idx="52">
                  <c:v>20(10)</c:v>
                </c:pt>
                <c:pt idx="53">
                  <c:v>21(1)</c:v>
                </c:pt>
              </c:strCache>
            </c:strRef>
          </c:cat>
          <c:val>
            <c:numRef>
              <c:f>Taul1!$B$2:$B$58</c:f>
              <c:numCache>
                <c:formatCode>General</c:formatCode>
                <c:ptCount val="57"/>
                <c:pt idx="1">
                  <c:v>-2</c:v>
                </c:pt>
                <c:pt idx="2">
                  <c:v>1</c:v>
                </c:pt>
                <c:pt idx="3">
                  <c:v>-14</c:v>
                </c:pt>
                <c:pt idx="4">
                  <c:v>-28</c:v>
                </c:pt>
                <c:pt idx="5">
                  <c:v>-56</c:v>
                </c:pt>
                <c:pt idx="6">
                  <c:v>-36</c:v>
                </c:pt>
                <c:pt idx="7">
                  <c:v>-21</c:v>
                </c:pt>
                <c:pt idx="8">
                  <c:v>2</c:v>
                </c:pt>
                <c:pt idx="9">
                  <c:v>10</c:v>
                </c:pt>
                <c:pt idx="10">
                  <c:v>33</c:v>
                </c:pt>
                <c:pt idx="11">
                  <c:v>27</c:v>
                </c:pt>
                <c:pt idx="12">
                  <c:v>19</c:v>
                </c:pt>
                <c:pt idx="13">
                  <c:v>26</c:v>
                </c:pt>
                <c:pt idx="14">
                  <c:v>30</c:v>
                </c:pt>
                <c:pt idx="15">
                  <c:v>18</c:v>
                </c:pt>
                <c:pt idx="16">
                  <c:v>-5</c:v>
                </c:pt>
                <c:pt idx="17">
                  <c:v>-5</c:v>
                </c:pt>
                <c:pt idx="18">
                  <c:v>8</c:v>
                </c:pt>
                <c:pt idx="19">
                  <c:v>-4</c:v>
                </c:pt>
                <c:pt idx="20">
                  <c:v>-24</c:v>
                </c:pt>
                <c:pt idx="21">
                  <c:v>-11</c:v>
                </c:pt>
                <c:pt idx="22">
                  <c:v>-2</c:v>
                </c:pt>
                <c:pt idx="23">
                  <c:v>-11</c:v>
                </c:pt>
                <c:pt idx="24">
                  <c:v>-13</c:v>
                </c:pt>
                <c:pt idx="25">
                  <c:v>5</c:v>
                </c:pt>
                <c:pt idx="26">
                  <c:v>15</c:v>
                </c:pt>
                <c:pt idx="27">
                  <c:v>3</c:v>
                </c:pt>
                <c:pt idx="28">
                  <c:v>-12</c:v>
                </c:pt>
                <c:pt idx="29">
                  <c:v>-4</c:v>
                </c:pt>
                <c:pt idx="30">
                  <c:v>10</c:v>
                </c:pt>
                <c:pt idx="31">
                  <c:v>1</c:v>
                </c:pt>
                <c:pt idx="32">
                  <c:v>-3</c:v>
                </c:pt>
                <c:pt idx="33">
                  <c:v>1</c:v>
                </c:pt>
                <c:pt idx="34">
                  <c:v>18</c:v>
                </c:pt>
                <c:pt idx="35">
                  <c:v>4</c:v>
                </c:pt>
                <c:pt idx="36">
                  <c:v>9</c:v>
                </c:pt>
                <c:pt idx="37">
                  <c:v>14</c:v>
                </c:pt>
                <c:pt idx="38">
                  <c:v>24</c:v>
                </c:pt>
                <c:pt idx="39">
                  <c:v>24</c:v>
                </c:pt>
                <c:pt idx="40">
                  <c:v>21.45</c:v>
                </c:pt>
                <c:pt idx="41">
                  <c:v>26.4</c:v>
                </c:pt>
                <c:pt idx="42">
                  <c:v>24.3</c:v>
                </c:pt>
                <c:pt idx="43">
                  <c:v>11.46</c:v>
                </c:pt>
                <c:pt idx="44">
                  <c:v>0.45</c:v>
                </c:pt>
                <c:pt idx="45">
                  <c:v>4.71</c:v>
                </c:pt>
                <c:pt idx="46">
                  <c:v>12.19</c:v>
                </c:pt>
                <c:pt idx="47">
                  <c:v>-2.73</c:v>
                </c:pt>
                <c:pt idx="48">
                  <c:v>-16.66</c:v>
                </c:pt>
                <c:pt idx="49">
                  <c:v>-6.75</c:v>
                </c:pt>
                <c:pt idx="50">
                  <c:v>-41.7</c:v>
                </c:pt>
                <c:pt idx="51">
                  <c:v>-43.66</c:v>
                </c:pt>
                <c:pt idx="52">
                  <c:v>-16.29</c:v>
                </c:pt>
                <c:pt idx="53">
                  <c:v>7.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AD0-4FF0-85C3-A9C09AA00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7343216"/>
        <c:axId val="407343608"/>
      </c:lineChart>
      <c:catAx>
        <c:axId val="407343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txPr>
          <a:bodyPr/>
          <a:lstStyle/>
          <a:p>
            <a:pPr>
              <a:defRPr sz="1400" b="1" i="0" baseline="0">
                <a:latin typeface="Arial" panose="020B0604020202020204" pitchFamily="34" charset="0"/>
              </a:defRPr>
            </a:pPr>
            <a:endParaRPr lang="fi-FI"/>
          </a:p>
        </c:txPr>
        <c:crossAx val="4073436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407343608"/>
        <c:scaling>
          <c:orientation val="minMax"/>
          <c:max val="40"/>
          <c:min val="-6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 b="0" i="0" baseline="0">
                <a:solidFill>
                  <a:schemeClr val="tx2"/>
                </a:solidFill>
                <a:latin typeface="Verdana" panose="020B0604030504040204" pitchFamily="34" charset="0"/>
              </a:defRPr>
            </a:pPr>
            <a:endParaRPr lang="fi-FI"/>
          </a:p>
        </c:txPr>
        <c:crossAx val="407343216"/>
        <c:crosses val="autoZero"/>
        <c:crossBetween val="midCat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i-FI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7,IV</c:v>
                </c:pt>
                <c:pt idx="1">
                  <c:v>2008,I</c:v>
                </c:pt>
                <c:pt idx="5">
                  <c:v>2009,I</c:v>
                </c:pt>
                <c:pt idx="9">
                  <c:v>2010,I</c:v>
                </c:pt>
                <c:pt idx="13">
                  <c:v>2011,I</c:v>
                </c:pt>
                <c:pt idx="17">
                  <c:v>2012,I</c:v>
                </c:pt>
                <c:pt idx="21">
                  <c:v>2013,I</c:v>
                </c:pt>
                <c:pt idx="25">
                  <c:v>2014,I</c:v>
                </c:pt>
                <c:pt idx="29">
                  <c:v>2015,I</c:v>
                </c:pt>
                <c:pt idx="33">
                  <c:v>2016,I</c:v>
                </c:pt>
                <c:pt idx="37">
                  <c:v>2017,I</c:v>
                </c:pt>
                <c:pt idx="41">
                  <c:v>2018,I</c:v>
                </c:pt>
                <c:pt idx="45">
                  <c:v>2019,I</c:v>
                </c:pt>
                <c:pt idx="49">
                  <c:v>2020,I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1">
                  <c:v>10266.549999999999</c:v>
                </c:pt>
                <c:pt idx="2">
                  <c:v>9700.5300000000007</c:v>
                </c:pt>
                <c:pt idx="3">
                  <c:v>10289.74</c:v>
                </c:pt>
                <c:pt idx="4">
                  <c:v>8773.76</c:v>
                </c:pt>
                <c:pt idx="5">
                  <c:v>5789.44</c:v>
                </c:pt>
                <c:pt idx="6">
                  <c:v>5971.6</c:v>
                </c:pt>
                <c:pt idx="7">
                  <c:v>6176.06</c:v>
                </c:pt>
                <c:pt idx="8">
                  <c:v>7152.15</c:v>
                </c:pt>
                <c:pt idx="9">
                  <c:v>6510.08</c:v>
                </c:pt>
                <c:pt idx="10">
                  <c:v>6662.08</c:v>
                </c:pt>
                <c:pt idx="11">
                  <c:v>6602.18</c:v>
                </c:pt>
                <c:pt idx="12">
                  <c:v>8616.49</c:v>
                </c:pt>
                <c:pt idx="13">
                  <c:v>7754.04</c:v>
                </c:pt>
                <c:pt idx="14">
                  <c:v>7953.62</c:v>
                </c:pt>
                <c:pt idx="15">
                  <c:v>7093.34</c:v>
                </c:pt>
                <c:pt idx="16">
                  <c:v>8843.5400000000009</c:v>
                </c:pt>
                <c:pt idx="17">
                  <c:v>7584.59</c:v>
                </c:pt>
                <c:pt idx="18">
                  <c:v>7932.49</c:v>
                </c:pt>
                <c:pt idx="19">
                  <c:v>7013.22</c:v>
                </c:pt>
                <c:pt idx="20">
                  <c:v>8245.34</c:v>
                </c:pt>
                <c:pt idx="21">
                  <c:v>6452.96</c:v>
                </c:pt>
                <c:pt idx="22">
                  <c:v>6821.51</c:v>
                </c:pt>
                <c:pt idx="23">
                  <c:v>6236.2</c:v>
                </c:pt>
                <c:pt idx="24">
                  <c:v>6995.2</c:v>
                </c:pt>
                <c:pt idx="25">
                  <c:v>6888.86</c:v>
                </c:pt>
                <c:pt idx="26">
                  <c:v>7067.23</c:v>
                </c:pt>
                <c:pt idx="27">
                  <c:v>8304.51</c:v>
                </c:pt>
                <c:pt idx="28">
                  <c:v>7257.21</c:v>
                </c:pt>
                <c:pt idx="29">
                  <c:v>6266.01</c:v>
                </c:pt>
                <c:pt idx="30">
                  <c:v>8077.21</c:v>
                </c:pt>
                <c:pt idx="31">
                  <c:v>6627.56</c:v>
                </c:pt>
                <c:pt idx="32">
                  <c:v>7448.18</c:v>
                </c:pt>
                <c:pt idx="33">
                  <c:v>6279.58</c:v>
                </c:pt>
                <c:pt idx="34">
                  <c:v>5973.17</c:v>
                </c:pt>
                <c:pt idx="35">
                  <c:v>6033.59</c:v>
                </c:pt>
                <c:pt idx="36">
                  <c:v>7368.14</c:v>
                </c:pt>
                <c:pt idx="37">
                  <c:v>7043.97</c:v>
                </c:pt>
                <c:pt idx="38">
                  <c:v>9032.68</c:v>
                </c:pt>
                <c:pt idx="39">
                  <c:v>6744.14</c:v>
                </c:pt>
                <c:pt idx="40">
                  <c:v>10514.82</c:v>
                </c:pt>
                <c:pt idx="41">
                  <c:v>8303.2000000000007</c:v>
                </c:pt>
                <c:pt idx="42">
                  <c:v>8157.36</c:v>
                </c:pt>
                <c:pt idx="43">
                  <c:v>8303.39</c:v>
                </c:pt>
                <c:pt idx="44">
                  <c:v>9383.39</c:v>
                </c:pt>
                <c:pt idx="45">
                  <c:v>9381.3700000000008</c:v>
                </c:pt>
                <c:pt idx="46">
                  <c:v>8957.0300000000007</c:v>
                </c:pt>
                <c:pt idx="47">
                  <c:v>9485.89</c:v>
                </c:pt>
                <c:pt idx="48">
                  <c:v>10875.46</c:v>
                </c:pt>
                <c:pt idx="49">
                  <c:v>8392.01</c:v>
                </c:pt>
                <c:pt idx="50">
                  <c:v>7791.97</c:v>
                </c:pt>
                <c:pt idx="51">
                  <c:v>8248.89</c:v>
                </c:pt>
                <c:pt idx="52">
                  <c:v>13173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7,IV</c:v>
                </c:pt>
                <c:pt idx="1">
                  <c:v>2008,I</c:v>
                </c:pt>
                <c:pt idx="5">
                  <c:v>2009,I</c:v>
                </c:pt>
                <c:pt idx="9">
                  <c:v>2010,I</c:v>
                </c:pt>
                <c:pt idx="13">
                  <c:v>2011,I</c:v>
                </c:pt>
                <c:pt idx="17">
                  <c:v>2012,I</c:v>
                </c:pt>
                <c:pt idx="21">
                  <c:v>2013,I</c:v>
                </c:pt>
                <c:pt idx="25">
                  <c:v>2014,I</c:v>
                </c:pt>
                <c:pt idx="29">
                  <c:v>2015,I</c:v>
                </c:pt>
                <c:pt idx="33">
                  <c:v>2016,I</c:v>
                </c:pt>
                <c:pt idx="37">
                  <c:v>2017,I</c:v>
                </c:pt>
                <c:pt idx="41">
                  <c:v>2018,I</c:v>
                </c:pt>
                <c:pt idx="45">
                  <c:v>2019,I</c:v>
                </c:pt>
                <c:pt idx="49">
                  <c:v>2020,I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1">
                  <c:v>8625.84</c:v>
                </c:pt>
                <c:pt idx="2">
                  <c:v>7846.42</c:v>
                </c:pt>
                <c:pt idx="3">
                  <c:v>8743.2000000000007</c:v>
                </c:pt>
                <c:pt idx="4">
                  <c:v>7250.09</c:v>
                </c:pt>
                <c:pt idx="5">
                  <c:v>4698.33</c:v>
                </c:pt>
                <c:pt idx="6">
                  <c:v>4709.8999999999996</c:v>
                </c:pt>
                <c:pt idx="7">
                  <c:v>4996.8</c:v>
                </c:pt>
                <c:pt idx="8">
                  <c:v>5713.99</c:v>
                </c:pt>
                <c:pt idx="9">
                  <c:v>5021.79</c:v>
                </c:pt>
                <c:pt idx="10">
                  <c:v>5383.21</c:v>
                </c:pt>
                <c:pt idx="11">
                  <c:v>5286.18</c:v>
                </c:pt>
                <c:pt idx="12">
                  <c:v>6610.01</c:v>
                </c:pt>
                <c:pt idx="13">
                  <c:v>5684.22</c:v>
                </c:pt>
                <c:pt idx="14">
                  <c:v>6358.66</c:v>
                </c:pt>
                <c:pt idx="15">
                  <c:v>5525.69</c:v>
                </c:pt>
                <c:pt idx="16">
                  <c:v>6916.89</c:v>
                </c:pt>
                <c:pt idx="17">
                  <c:v>5869.79</c:v>
                </c:pt>
                <c:pt idx="18">
                  <c:v>6326.4</c:v>
                </c:pt>
                <c:pt idx="19">
                  <c:v>5802.19</c:v>
                </c:pt>
                <c:pt idx="20">
                  <c:v>6803.4</c:v>
                </c:pt>
                <c:pt idx="21">
                  <c:v>4973.0200000000004</c:v>
                </c:pt>
                <c:pt idx="22">
                  <c:v>5313.48</c:v>
                </c:pt>
                <c:pt idx="23">
                  <c:v>5019.8999999999996</c:v>
                </c:pt>
                <c:pt idx="24">
                  <c:v>5641.1</c:v>
                </c:pt>
                <c:pt idx="25">
                  <c:v>5189.7700000000004</c:v>
                </c:pt>
                <c:pt idx="26">
                  <c:v>5408.28</c:v>
                </c:pt>
                <c:pt idx="27">
                  <c:v>6386.36</c:v>
                </c:pt>
                <c:pt idx="28">
                  <c:v>5652.55</c:v>
                </c:pt>
                <c:pt idx="29">
                  <c:v>4607.8100000000004</c:v>
                </c:pt>
                <c:pt idx="30">
                  <c:v>6205.44</c:v>
                </c:pt>
                <c:pt idx="31">
                  <c:v>5260.59</c:v>
                </c:pt>
                <c:pt idx="32">
                  <c:v>5501</c:v>
                </c:pt>
                <c:pt idx="33">
                  <c:v>4592.6099999999997</c:v>
                </c:pt>
                <c:pt idx="34">
                  <c:v>4397.05</c:v>
                </c:pt>
                <c:pt idx="35">
                  <c:v>4499.24</c:v>
                </c:pt>
                <c:pt idx="36">
                  <c:v>5376.49</c:v>
                </c:pt>
                <c:pt idx="37">
                  <c:v>5378.67</c:v>
                </c:pt>
                <c:pt idx="38">
                  <c:v>7237.49</c:v>
                </c:pt>
                <c:pt idx="39">
                  <c:v>4962.88</c:v>
                </c:pt>
                <c:pt idx="40">
                  <c:v>8036.36</c:v>
                </c:pt>
                <c:pt idx="41">
                  <c:v>5739.5</c:v>
                </c:pt>
                <c:pt idx="42">
                  <c:v>6050.62</c:v>
                </c:pt>
                <c:pt idx="43">
                  <c:v>6372.17</c:v>
                </c:pt>
                <c:pt idx="44">
                  <c:v>6972.08</c:v>
                </c:pt>
                <c:pt idx="45">
                  <c:v>6902.74</c:v>
                </c:pt>
                <c:pt idx="46">
                  <c:v>6433.74</c:v>
                </c:pt>
                <c:pt idx="47">
                  <c:v>6992.6</c:v>
                </c:pt>
                <c:pt idx="48">
                  <c:v>8606.26</c:v>
                </c:pt>
                <c:pt idx="49">
                  <c:v>6124.08</c:v>
                </c:pt>
                <c:pt idx="50">
                  <c:v>5668.51</c:v>
                </c:pt>
                <c:pt idx="51">
                  <c:v>6298.22</c:v>
                </c:pt>
                <c:pt idx="52">
                  <c:v>9575.7800000000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7,IV</c:v>
                </c:pt>
                <c:pt idx="1">
                  <c:v>2008,I</c:v>
                </c:pt>
                <c:pt idx="5">
                  <c:v>2009,I</c:v>
                </c:pt>
                <c:pt idx="9">
                  <c:v>2010,I</c:v>
                </c:pt>
                <c:pt idx="13">
                  <c:v>2011,I</c:v>
                </c:pt>
                <c:pt idx="17">
                  <c:v>2012,I</c:v>
                </c:pt>
                <c:pt idx="21">
                  <c:v>2013,I</c:v>
                </c:pt>
                <c:pt idx="25">
                  <c:v>2014,I</c:v>
                </c:pt>
                <c:pt idx="29">
                  <c:v>2015,I</c:v>
                </c:pt>
                <c:pt idx="33">
                  <c:v>2016,I</c:v>
                </c:pt>
                <c:pt idx="37">
                  <c:v>2017,I</c:v>
                </c:pt>
                <c:pt idx="41">
                  <c:v>2018,I</c:v>
                </c:pt>
                <c:pt idx="45">
                  <c:v>2019,I</c:v>
                </c:pt>
                <c:pt idx="49">
                  <c:v>2020,I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1">
                  <c:v>1589.86</c:v>
                </c:pt>
                <c:pt idx="2">
                  <c:v>1807.57</c:v>
                </c:pt>
                <c:pt idx="3">
                  <c:v>1497.77</c:v>
                </c:pt>
                <c:pt idx="4">
                  <c:v>1479.72</c:v>
                </c:pt>
                <c:pt idx="5">
                  <c:v>1048.53</c:v>
                </c:pt>
                <c:pt idx="6">
                  <c:v>1223.6300000000001</c:v>
                </c:pt>
                <c:pt idx="7">
                  <c:v>1142.9100000000001</c:v>
                </c:pt>
                <c:pt idx="8">
                  <c:v>1401.59</c:v>
                </c:pt>
                <c:pt idx="9">
                  <c:v>1449.86</c:v>
                </c:pt>
                <c:pt idx="10">
                  <c:v>1238.8699999999999</c:v>
                </c:pt>
                <c:pt idx="11">
                  <c:v>1272.02</c:v>
                </c:pt>
                <c:pt idx="12">
                  <c:v>1934.17</c:v>
                </c:pt>
                <c:pt idx="13">
                  <c:v>1989.21</c:v>
                </c:pt>
                <c:pt idx="14">
                  <c:v>1530.17</c:v>
                </c:pt>
                <c:pt idx="15">
                  <c:v>1492.42</c:v>
                </c:pt>
                <c:pt idx="16">
                  <c:v>1836.02</c:v>
                </c:pt>
                <c:pt idx="17">
                  <c:v>1618.91</c:v>
                </c:pt>
                <c:pt idx="18">
                  <c:v>1515.54</c:v>
                </c:pt>
                <c:pt idx="19">
                  <c:v>1146.54</c:v>
                </c:pt>
                <c:pt idx="20">
                  <c:v>1367.12</c:v>
                </c:pt>
                <c:pt idx="21">
                  <c:v>1393.42</c:v>
                </c:pt>
                <c:pt idx="22">
                  <c:v>1432.34</c:v>
                </c:pt>
                <c:pt idx="23">
                  <c:v>1143.58</c:v>
                </c:pt>
                <c:pt idx="24">
                  <c:v>1264.3900000000001</c:v>
                </c:pt>
                <c:pt idx="25">
                  <c:v>1604.95</c:v>
                </c:pt>
                <c:pt idx="26">
                  <c:v>1571.99</c:v>
                </c:pt>
                <c:pt idx="27">
                  <c:v>1851.07</c:v>
                </c:pt>
                <c:pt idx="28">
                  <c:v>1491.37</c:v>
                </c:pt>
                <c:pt idx="29">
                  <c:v>1556.33</c:v>
                </c:pt>
                <c:pt idx="30">
                  <c:v>1762.4</c:v>
                </c:pt>
                <c:pt idx="31">
                  <c:v>1285.01</c:v>
                </c:pt>
                <c:pt idx="32">
                  <c:v>1849.03</c:v>
                </c:pt>
                <c:pt idx="33">
                  <c:v>1576</c:v>
                </c:pt>
                <c:pt idx="34">
                  <c:v>1464.66</c:v>
                </c:pt>
                <c:pt idx="35">
                  <c:v>1439.59</c:v>
                </c:pt>
                <c:pt idx="36">
                  <c:v>1878.26</c:v>
                </c:pt>
                <c:pt idx="37">
                  <c:v>1540.48</c:v>
                </c:pt>
                <c:pt idx="38">
                  <c:v>1669.37</c:v>
                </c:pt>
                <c:pt idx="39">
                  <c:v>1678.68</c:v>
                </c:pt>
                <c:pt idx="40">
                  <c:v>2332.35</c:v>
                </c:pt>
                <c:pt idx="41">
                  <c:v>2358.0700000000002</c:v>
                </c:pt>
                <c:pt idx="42">
                  <c:v>1920.7</c:v>
                </c:pt>
                <c:pt idx="43">
                  <c:v>1783.23</c:v>
                </c:pt>
                <c:pt idx="44">
                  <c:v>2215.79</c:v>
                </c:pt>
                <c:pt idx="45">
                  <c:v>2285.6</c:v>
                </c:pt>
                <c:pt idx="46">
                  <c:v>2355.33</c:v>
                </c:pt>
                <c:pt idx="47">
                  <c:v>2356.89</c:v>
                </c:pt>
                <c:pt idx="48">
                  <c:v>2077.21</c:v>
                </c:pt>
                <c:pt idx="49">
                  <c:v>2067.73</c:v>
                </c:pt>
                <c:pt idx="50">
                  <c:v>1928.95</c:v>
                </c:pt>
                <c:pt idx="51">
                  <c:v>1788</c:v>
                </c:pt>
                <c:pt idx="52">
                  <c:v>3388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14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10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7157009654753805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 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7,IV</c:v>
                </c:pt>
                <c:pt idx="1">
                  <c:v>2008,I</c:v>
                </c:pt>
                <c:pt idx="5">
                  <c:v>2009,I</c:v>
                </c:pt>
                <c:pt idx="9">
                  <c:v>2010,I</c:v>
                </c:pt>
                <c:pt idx="13">
                  <c:v>2011,I</c:v>
                </c:pt>
                <c:pt idx="17">
                  <c:v>2012,I</c:v>
                </c:pt>
                <c:pt idx="21">
                  <c:v>2013,I</c:v>
                </c:pt>
                <c:pt idx="25">
                  <c:v>2014,I</c:v>
                </c:pt>
                <c:pt idx="29">
                  <c:v>2015,I</c:v>
                </c:pt>
                <c:pt idx="33">
                  <c:v>2016,I</c:v>
                </c:pt>
                <c:pt idx="37">
                  <c:v>2017,I</c:v>
                </c:pt>
                <c:pt idx="41">
                  <c:v>2018,I</c:v>
                </c:pt>
                <c:pt idx="45">
                  <c:v>2019,I</c:v>
                </c:pt>
                <c:pt idx="49">
                  <c:v>2020,I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1">
                  <c:v>3902.29</c:v>
                </c:pt>
                <c:pt idx="2">
                  <c:v>3251.05</c:v>
                </c:pt>
                <c:pt idx="3">
                  <c:v>3790.59</c:v>
                </c:pt>
                <c:pt idx="4">
                  <c:v>1866.15</c:v>
                </c:pt>
                <c:pt idx="5">
                  <c:v>1568.76</c:v>
                </c:pt>
                <c:pt idx="6">
                  <c:v>1458.91</c:v>
                </c:pt>
                <c:pt idx="7">
                  <c:v>1699.08</c:v>
                </c:pt>
                <c:pt idx="8">
                  <c:v>2114.48</c:v>
                </c:pt>
                <c:pt idx="9">
                  <c:v>1836.31</c:v>
                </c:pt>
                <c:pt idx="10">
                  <c:v>2251.31</c:v>
                </c:pt>
                <c:pt idx="11">
                  <c:v>2079.71</c:v>
                </c:pt>
                <c:pt idx="12">
                  <c:v>2792.76</c:v>
                </c:pt>
                <c:pt idx="13">
                  <c:v>2877.2</c:v>
                </c:pt>
                <c:pt idx="14">
                  <c:v>3695.55</c:v>
                </c:pt>
                <c:pt idx="15">
                  <c:v>2780.73</c:v>
                </c:pt>
                <c:pt idx="16">
                  <c:v>3294.06</c:v>
                </c:pt>
                <c:pt idx="17">
                  <c:v>3090.65</c:v>
                </c:pt>
                <c:pt idx="18">
                  <c:v>2932.43</c:v>
                </c:pt>
                <c:pt idx="19">
                  <c:v>2685.01</c:v>
                </c:pt>
                <c:pt idx="20">
                  <c:v>3378.06</c:v>
                </c:pt>
                <c:pt idx="21">
                  <c:v>2695.28</c:v>
                </c:pt>
                <c:pt idx="22">
                  <c:v>2885.2</c:v>
                </c:pt>
                <c:pt idx="23">
                  <c:v>2723.73</c:v>
                </c:pt>
                <c:pt idx="24">
                  <c:v>2691.25</c:v>
                </c:pt>
                <c:pt idx="25">
                  <c:v>3303.42</c:v>
                </c:pt>
                <c:pt idx="26">
                  <c:v>3540.12</c:v>
                </c:pt>
                <c:pt idx="27">
                  <c:v>4116.74</c:v>
                </c:pt>
                <c:pt idx="28">
                  <c:v>3322.4</c:v>
                </c:pt>
                <c:pt idx="29">
                  <c:v>3006.41</c:v>
                </c:pt>
                <c:pt idx="30">
                  <c:v>4838.75</c:v>
                </c:pt>
                <c:pt idx="31">
                  <c:v>3725.29</c:v>
                </c:pt>
                <c:pt idx="32">
                  <c:v>3352.72</c:v>
                </c:pt>
                <c:pt idx="33">
                  <c:v>2997.22</c:v>
                </c:pt>
                <c:pt idx="34">
                  <c:v>2765.46</c:v>
                </c:pt>
                <c:pt idx="35">
                  <c:v>2669.38</c:v>
                </c:pt>
                <c:pt idx="36">
                  <c:v>3543.26</c:v>
                </c:pt>
                <c:pt idx="37">
                  <c:v>3555.23</c:v>
                </c:pt>
                <c:pt idx="38">
                  <c:v>5354.96</c:v>
                </c:pt>
                <c:pt idx="39">
                  <c:v>3288.98</c:v>
                </c:pt>
                <c:pt idx="40">
                  <c:v>6493.07</c:v>
                </c:pt>
                <c:pt idx="41">
                  <c:v>4049.78</c:v>
                </c:pt>
                <c:pt idx="42">
                  <c:v>4149.72</c:v>
                </c:pt>
                <c:pt idx="43">
                  <c:v>4312.8999999999996</c:v>
                </c:pt>
                <c:pt idx="44">
                  <c:v>4840.34</c:v>
                </c:pt>
                <c:pt idx="45">
                  <c:v>4739.37</c:v>
                </c:pt>
                <c:pt idx="46">
                  <c:v>4240.18</c:v>
                </c:pt>
                <c:pt idx="47">
                  <c:v>4271.0200000000004</c:v>
                </c:pt>
                <c:pt idx="48">
                  <c:v>5063.0600000000004</c:v>
                </c:pt>
                <c:pt idx="49">
                  <c:v>3778.55</c:v>
                </c:pt>
                <c:pt idx="50">
                  <c:v>2810.17</c:v>
                </c:pt>
                <c:pt idx="51">
                  <c:v>3245.23</c:v>
                </c:pt>
                <c:pt idx="52">
                  <c:v>5563.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57-4983-A729-143E09D5A6F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 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7,IV</c:v>
                </c:pt>
                <c:pt idx="1">
                  <c:v>2008,I</c:v>
                </c:pt>
                <c:pt idx="5">
                  <c:v>2009,I</c:v>
                </c:pt>
                <c:pt idx="9">
                  <c:v>2010,I</c:v>
                </c:pt>
                <c:pt idx="13">
                  <c:v>2011,I</c:v>
                </c:pt>
                <c:pt idx="17">
                  <c:v>2012,I</c:v>
                </c:pt>
                <c:pt idx="21">
                  <c:v>2013,I</c:v>
                </c:pt>
                <c:pt idx="25">
                  <c:v>2014,I</c:v>
                </c:pt>
                <c:pt idx="29">
                  <c:v>2015,I</c:v>
                </c:pt>
                <c:pt idx="33">
                  <c:v>2016,I</c:v>
                </c:pt>
                <c:pt idx="37">
                  <c:v>2017,I</c:v>
                </c:pt>
                <c:pt idx="41">
                  <c:v>2018,I</c:v>
                </c:pt>
                <c:pt idx="45">
                  <c:v>2019,I</c:v>
                </c:pt>
                <c:pt idx="49">
                  <c:v>2020,I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1">
                  <c:v>3285.35</c:v>
                </c:pt>
                <c:pt idx="2">
                  <c:v>2618.87</c:v>
                </c:pt>
                <c:pt idx="3">
                  <c:v>3250.77</c:v>
                </c:pt>
                <c:pt idx="4">
                  <c:v>1415.04</c:v>
                </c:pt>
                <c:pt idx="5">
                  <c:v>1209.8900000000001</c:v>
                </c:pt>
                <c:pt idx="6">
                  <c:v>1090.3</c:v>
                </c:pt>
                <c:pt idx="7">
                  <c:v>1404.83</c:v>
                </c:pt>
                <c:pt idx="8">
                  <c:v>1696.21</c:v>
                </c:pt>
                <c:pt idx="9">
                  <c:v>1471.13</c:v>
                </c:pt>
                <c:pt idx="10">
                  <c:v>1807.59</c:v>
                </c:pt>
                <c:pt idx="11">
                  <c:v>1762.12</c:v>
                </c:pt>
                <c:pt idx="12">
                  <c:v>2089.38</c:v>
                </c:pt>
                <c:pt idx="13">
                  <c:v>2208.7399999999998</c:v>
                </c:pt>
                <c:pt idx="14">
                  <c:v>2994.4</c:v>
                </c:pt>
                <c:pt idx="15">
                  <c:v>2288.1</c:v>
                </c:pt>
                <c:pt idx="16">
                  <c:v>2668.19</c:v>
                </c:pt>
                <c:pt idx="17">
                  <c:v>2490.86</c:v>
                </c:pt>
                <c:pt idx="18">
                  <c:v>2345.09</c:v>
                </c:pt>
                <c:pt idx="19">
                  <c:v>2168.3000000000002</c:v>
                </c:pt>
                <c:pt idx="20">
                  <c:v>2815.44</c:v>
                </c:pt>
                <c:pt idx="21">
                  <c:v>2204.38</c:v>
                </c:pt>
                <c:pt idx="22">
                  <c:v>2249.62</c:v>
                </c:pt>
                <c:pt idx="23">
                  <c:v>2244.71</c:v>
                </c:pt>
                <c:pt idx="24">
                  <c:v>2161.2199999999998</c:v>
                </c:pt>
                <c:pt idx="25">
                  <c:v>2558.21</c:v>
                </c:pt>
                <c:pt idx="26">
                  <c:v>2729.42</c:v>
                </c:pt>
                <c:pt idx="27">
                  <c:v>3071.77</c:v>
                </c:pt>
                <c:pt idx="28">
                  <c:v>2649.09</c:v>
                </c:pt>
                <c:pt idx="29">
                  <c:v>2336.2199999999998</c:v>
                </c:pt>
                <c:pt idx="30">
                  <c:v>3925.77</c:v>
                </c:pt>
                <c:pt idx="31">
                  <c:v>3211.05</c:v>
                </c:pt>
                <c:pt idx="32">
                  <c:v>2598.8000000000002</c:v>
                </c:pt>
                <c:pt idx="33">
                  <c:v>2226.58</c:v>
                </c:pt>
                <c:pt idx="34">
                  <c:v>2082.2600000000002</c:v>
                </c:pt>
                <c:pt idx="35">
                  <c:v>2077.4499999999998</c:v>
                </c:pt>
                <c:pt idx="36">
                  <c:v>2626.55</c:v>
                </c:pt>
                <c:pt idx="37">
                  <c:v>2895.16</c:v>
                </c:pt>
                <c:pt idx="38">
                  <c:v>4667.4399999999996</c:v>
                </c:pt>
                <c:pt idx="39">
                  <c:v>2683.3</c:v>
                </c:pt>
                <c:pt idx="40">
                  <c:v>5406.38</c:v>
                </c:pt>
                <c:pt idx="41">
                  <c:v>3041.76</c:v>
                </c:pt>
                <c:pt idx="42">
                  <c:v>3414.18</c:v>
                </c:pt>
                <c:pt idx="43">
                  <c:v>3650.25</c:v>
                </c:pt>
                <c:pt idx="44">
                  <c:v>3912.98</c:v>
                </c:pt>
                <c:pt idx="45">
                  <c:v>3751.39</c:v>
                </c:pt>
                <c:pt idx="46">
                  <c:v>3255.92</c:v>
                </c:pt>
                <c:pt idx="47">
                  <c:v>3007.8</c:v>
                </c:pt>
                <c:pt idx="48">
                  <c:v>4270.99</c:v>
                </c:pt>
                <c:pt idx="49">
                  <c:v>3046.37</c:v>
                </c:pt>
                <c:pt idx="50">
                  <c:v>2082.91</c:v>
                </c:pt>
                <c:pt idx="51">
                  <c:v>2535.96</c:v>
                </c:pt>
                <c:pt idx="52">
                  <c:v>3537.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57-4983-A729-143E09D5A6F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 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7,IV</c:v>
                </c:pt>
                <c:pt idx="1">
                  <c:v>2008,I</c:v>
                </c:pt>
                <c:pt idx="5">
                  <c:v>2009,I</c:v>
                </c:pt>
                <c:pt idx="9">
                  <c:v>2010,I</c:v>
                </c:pt>
                <c:pt idx="13">
                  <c:v>2011,I</c:v>
                </c:pt>
                <c:pt idx="17">
                  <c:v>2012,I</c:v>
                </c:pt>
                <c:pt idx="21">
                  <c:v>2013,I</c:v>
                </c:pt>
                <c:pt idx="25">
                  <c:v>2014,I</c:v>
                </c:pt>
                <c:pt idx="29">
                  <c:v>2015,I</c:v>
                </c:pt>
                <c:pt idx="33">
                  <c:v>2016,I</c:v>
                </c:pt>
                <c:pt idx="37">
                  <c:v>2017,I</c:v>
                </c:pt>
                <c:pt idx="41">
                  <c:v>2018,I</c:v>
                </c:pt>
                <c:pt idx="45">
                  <c:v>2019,I</c:v>
                </c:pt>
                <c:pt idx="49">
                  <c:v>2020,I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1">
                  <c:v>616.94000000000005</c:v>
                </c:pt>
                <c:pt idx="2">
                  <c:v>632.17999999999995</c:v>
                </c:pt>
                <c:pt idx="3">
                  <c:v>539.83000000000004</c:v>
                </c:pt>
                <c:pt idx="4">
                  <c:v>451.11</c:v>
                </c:pt>
                <c:pt idx="5">
                  <c:v>358.88</c:v>
                </c:pt>
                <c:pt idx="6">
                  <c:v>368.61</c:v>
                </c:pt>
                <c:pt idx="7">
                  <c:v>294.25</c:v>
                </c:pt>
                <c:pt idx="8">
                  <c:v>418.27</c:v>
                </c:pt>
                <c:pt idx="9">
                  <c:v>365.17</c:v>
                </c:pt>
                <c:pt idx="10">
                  <c:v>443.72</c:v>
                </c:pt>
                <c:pt idx="11">
                  <c:v>317.58999999999997</c:v>
                </c:pt>
                <c:pt idx="12">
                  <c:v>703.38</c:v>
                </c:pt>
                <c:pt idx="13">
                  <c:v>668.46</c:v>
                </c:pt>
                <c:pt idx="14">
                  <c:v>701.15</c:v>
                </c:pt>
                <c:pt idx="15">
                  <c:v>492.63</c:v>
                </c:pt>
                <c:pt idx="16">
                  <c:v>625.87</c:v>
                </c:pt>
                <c:pt idx="17">
                  <c:v>599.79</c:v>
                </c:pt>
                <c:pt idx="18">
                  <c:v>587.34</c:v>
                </c:pt>
                <c:pt idx="19">
                  <c:v>516.71</c:v>
                </c:pt>
                <c:pt idx="20">
                  <c:v>562.63</c:v>
                </c:pt>
                <c:pt idx="21">
                  <c:v>490.9</c:v>
                </c:pt>
                <c:pt idx="22">
                  <c:v>635.58000000000004</c:v>
                </c:pt>
                <c:pt idx="23">
                  <c:v>479.03</c:v>
                </c:pt>
                <c:pt idx="24">
                  <c:v>530.02</c:v>
                </c:pt>
                <c:pt idx="25">
                  <c:v>745.21</c:v>
                </c:pt>
                <c:pt idx="26">
                  <c:v>810.7</c:v>
                </c:pt>
                <c:pt idx="27">
                  <c:v>1044.97</c:v>
                </c:pt>
                <c:pt idx="28">
                  <c:v>673.31</c:v>
                </c:pt>
                <c:pt idx="29">
                  <c:v>670.18</c:v>
                </c:pt>
                <c:pt idx="30">
                  <c:v>912.98</c:v>
                </c:pt>
                <c:pt idx="31">
                  <c:v>514.25</c:v>
                </c:pt>
                <c:pt idx="32">
                  <c:v>753.91</c:v>
                </c:pt>
                <c:pt idx="33">
                  <c:v>770.64</c:v>
                </c:pt>
                <c:pt idx="34">
                  <c:v>683.2</c:v>
                </c:pt>
                <c:pt idx="35">
                  <c:v>591.94000000000005</c:v>
                </c:pt>
                <c:pt idx="36">
                  <c:v>916.71</c:v>
                </c:pt>
                <c:pt idx="37">
                  <c:v>660.07</c:v>
                </c:pt>
                <c:pt idx="38">
                  <c:v>687.52</c:v>
                </c:pt>
                <c:pt idx="39">
                  <c:v>605.67999999999995</c:v>
                </c:pt>
                <c:pt idx="40">
                  <c:v>1086.7</c:v>
                </c:pt>
                <c:pt idx="41">
                  <c:v>1008.02</c:v>
                </c:pt>
                <c:pt idx="42">
                  <c:v>735.54</c:v>
                </c:pt>
                <c:pt idx="43">
                  <c:v>662.65</c:v>
                </c:pt>
                <c:pt idx="44">
                  <c:v>927.36</c:v>
                </c:pt>
                <c:pt idx="45">
                  <c:v>987.98</c:v>
                </c:pt>
                <c:pt idx="46">
                  <c:v>984.27</c:v>
                </c:pt>
                <c:pt idx="47">
                  <c:v>1263.22</c:v>
                </c:pt>
                <c:pt idx="48">
                  <c:v>792.07</c:v>
                </c:pt>
                <c:pt idx="49">
                  <c:v>732.18</c:v>
                </c:pt>
                <c:pt idx="50">
                  <c:v>727.26</c:v>
                </c:pt>
                <c:pt idx="51">
                  <c:v>709.27</c:v>
                </c:pt>
                <c:pt idx="52">
                  <c:v>2026.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57-4983-A729-143E09D5A6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2611200"/>
        <c:axId val="372611592"/>
      </c:lineChart>
      <c:catAx>
        <c:axId val="372611200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72611592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72611592"/>
        <c:scaling>
          <c:orientation val="minMax"/>
          <c:max val="7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72611200"/>
        <c:crosses val="autoZero"/>
        <c:crossBetween val="midCat"/>
        <c:majorUnit val="500"/>
        <c:minorUnit val="1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872929419499834"/>
          <c:y val="0.19757124334097242"/>
          <c:w val="0.13127070580500164"/>
          <c:h val="0.54345517104981889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Henkilöstömäärän muutos edelliseen neljännekseen verrattuna</c:v>
                </c:pt>
              </c:strCache>
            </c:strRef>
          </c:tx>
          <c:spPr>
            <a:solidFill>
              <a:srgbClr val="141F94"/>
            </a:solidFill>
            <a:ln>
              <a:noFill/>
            </a:ln>
            <a:effectLst/>
          </c:spPr>
          <c:invertIfNegative val="0"/>
          <c:cat>
            <c:strRef>
              <c:f>Taul1!$A$2:$A$27</c:f>
              <c:strCache>
                <c:ptCount val="26"/>
                <c:pt idx="0">
                  <c:v>2014Q3</c:v>
                </c:pt>
                <c:pt idx="1">
                  <c:v>2014Q4</c:v>
                </c:pt>
                <c:pt idx="2">
                  <c:v>2015Q1</c:v>
                </c:pt>
                <c:pt idx="3">
                  <c:v>2015Q2</c:v>
                </c:pt>
                <c:pt idx="4">
                  <c:v>2015Q3</c:v>
                </c:pt>
                <c:pt idx="5">
                  <c:v>2015Q4</c:v>
                </c:pt>
                <c:pt idx="6">
                  <c:v>2016Q1</c:v>
                </c:pt>
                <c:pt idx="7">
                  <c:v>2016Q2</c:v>
                </c:pt>
                <c:pt idx="8">
                  <c:v>2016Q3</c:v>
                </c:pt>
                <c:pt idx="9">
                  <c:v>2016Q4</c:v>
                </c:pt>
                <c:pt idx="10">
                  <c:v>2017Q1</c:v>
                </c:pt>
                <c:pt idx="11">
                  <c:v>2017Q2</c:v>
                </c:pt>
                <c:pt idx="12">
                  <c:v>2017Q3</c:v>
                </c:pt>
                <c:pt idx="13">
                  <c:v>2017Q4</c:v>
                </c:pt>
                <c:pt idx="14">
                  <c:v>2018Q1</c:v>
                </c:pt>
                <c:pt idx="15">
                  <c:v>2018Q2</c:v>
                </c:pt>
                <c:pt idx="16">
                  <c:v>2018Q3</c:v>
                </c:pt>
                <c:pt idx="17">
                  <c:v>2018Q4</c:v>
                </c:pt>
                <c:pt idx="18">
                  <c:v>2019Q1</c:v>
                </c:pt>
                <c:pt idx="19">
                  <c:v>2019Q2</c:v>
                </c:pt>
                <c:pt idx="20">
                  <c:v>2019Q3</c:v>
                </c:pt>
                <c:pt idx="21">
                  <c:v>2019Q4</c:v>
                </c:pt>
                <c:pt idx="22">
                  <c:v>2020Q1</c:v>
                </c:pt>
                <c:pt idx="23">
                  <c:v>2020Q2</c:v>
                </c:pt>
                <c:pt idx="24">
                  <c:v>2020Q3</c:v>
                </c:pt>
                <c:pt idx="25">
                  <c:v>2020Q4</c:v>
                </c:pt>
              </c:strCache>
            </c:strRef>
          </c:cat>
          <c:val>
            <c:numRef>
              <c:f>Taul1!$B$2:$B$27</c:f>
              <c:numCache>
                <c:formatCode>General</c:formatCode>
                <c:ptCount val="26"/>
                <c:pt idx="0">
                  <c:v>-1725.0472980454797</c:v>
                </c:pt>
                <c:pt idx="1">
                  <c:v>-2772.9277301111724</c:v>
                </c:pt>
                <c:pt idx="2">
                  <c:v>500</c:v>
                </c:pt>
                <c:pt idx="3">
                  <c:v>1464.6108658704907</c:v>
                </c:pt>
                <c:pt idx="4">
                  <c:v>-1043.8445894536562</c:v>
                </c:pt>
                <c:pt idx="5">
                  <c:v>-2242.6661510239355</c:v>
                </c:pt>
                <c:pt idx="6">
                  <c:v>-423.86039099266054</c:v>
                </c:pt>
                <c:pt idx="7">
                  <c:v>783.61812865873799</c:v>
                </c:pt>
                <c:pt idx="8">
                  <c:v>-1880.5028571592993</c:v>
                </c:pt>
                <c:pt idx="9">
                  <c:v>577.85174448625185</c:v>
                </c:pt>
                <c:pt idx="10">
                  <c:v>2477</c:v>
                </c:pt>
                <c:pt idx="11">
                  <c:v>3855</c:v>
                </c:pt>
                <c:pt idx="12">
                  <c:v>1906</c:v>
                </c:pt>
                <c:pt idx="13">
                  <c:v>1556</c:v>
                </c:pt>
                <c:pt idx="14">
                  <c:v>2395</c:v>
                </c:pt>
                <c:pt idx="15">
                  <c:v>4631</c:v>
                </c:pt>
                <c:pt idx="16" formatCode="#,##0">
                  <c:v>4578</c:v>
                </c:pt>
                <c:pt idx="17">
                  <c:v>756</c:v>
                </c:pt>
                <c:pt idx="18">
                  <c:v>3414</c:v>
                </c:pt>
                <c:pt idx="19">
                  <c:v>2632</c:v>
                </c:pt>
                <c:pt idx="20">
                  <c:v>1555</c:v>
                </c:pt>
                <c:pt idx="21">
                  <c:v>-757</c:v>
                </c:pt>
                <c:pt idx="22">
                  <c:v>-379</c:v>
                </c:pt>
                <c:pt idx="23">
                  <c:v>-2512</c:v>
                </c:pt>
                <c:pt idx="24">
                  <c:v>-1443</c:v>
                </c:pt>
                <c:pt idx="25" formatCode="#,##0">
                  <c:v>-1674.74859927094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06-482A-AD06-8D94355D6B8A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Neljänneksen aikana rekrytoitujen määrä</c:v>
                </c:pt>
              </c:strCache>
            </c:strRef>
          </c:tx>
          <c:spPr>
            <a:solidFill>
              <a:srgbClr val="FF805C"/>
            </a:solidFill>
            <a:ln>
              <a:noFill/>
            </a:ln>
            <a:effectLst/>
          </c:spPr>
          <c:invertIfNegative val="0"/>
          <c:cat>
            <c:strRef>
              <c:f>Taul1!$A$2:$A$27</c:f>
              <c:strCache>
                <c:ptCount val="26"/>
                <c:pt idx="0">
                  <c:v>2014Q3</c:v>
                </c:pt>
                <c:pt idx="1">
                  <c:v>2014Q4</c:v>
                </c:pt>
                <c:pt idx="2">
                  <c:v>2015Q1</c:v>
                </c:pt>
                <c:pt idx="3">
                  <c:v>2015Q2</c:v>
                </c:pt>
                <c:pt idx="4">
                  <c:v>2015Q3</c:v>
                </c:pt>
                <c:pt idx="5">
                  <c:v>2015Q4</c:v>
                </c:pt>
                <c:pt idx="6">
                  <c:v>2016Q1</c:v>
                </c:pt>
                <c:pt idx="7">
                  <c:v>2016Q2</c:v>
                </c:pt>
                <c:pt idx="8">
                  <c:v>2016Q3</c:v>
                </c:pt>
                <c:pt idx="9">
                  <c:v>2016Q4</c:v>
                </c:pt>
                <c:pt idx="10">
                  <c:v>2017Q1</c:v>
                </c:pt>
                <c:pt idx="11">
                  <c:v>2017Q2</c:v>
                </c:pt>
                <c:pt idx="12">
                  <c:v>2017Q3</c:v>
                </c:pt>
                <c:pt idx="13">
                  <c:v>2017Q4</c:v>
                </c:pt>
                <c:pt idx="14">
                  <c:v>2018Q1</c:v>
                </c:pt>
                <c:pt idx="15">
                  <c:v>2018Q2</c:v>
                </c:pt>
                <c:pt idx="16">
                  <c:v>2018Q3</c:v>
                </c:pt>
                <c:pt idx="17">
                  <c:v>2018Q4</c:v>
                </c:pt>
                <c:pt idx="18">
                  <c:v>2019Q1</c:v>
                </c:pt>
                <c:pt idx="19">
                  <c:v>2019Q2</c:v>
                </c:pt>
                <c:pt idx="20">
                  <c:v>2019Q3</c:v>
                </c:pt>
                <c:pt idx="21">
                  <c:v>2019Q4</c:v>
                </c:pt>
                <c:pt idx="22">
                  <c:v>2020Q1</c:v>
                </c:pt>
                <c:pt idx="23">
                  <c:v>2020Q2</c:v>
                </c:pt>
                <c:pt idx="24">
                  <c:v>2020Q3</c:v>
                </c:pt>
                <c:pt idx="25">
                  <c:v>2020Q4</c:v>
                </c:pt>
              </c:strCache>
            </c:strRef>
          </c:cat>
          <c:val>
            <c:numRef>
              <c:f>Taul1!$C$2:$C$27</c:f>
              <c:numCache>
                <c:formatCode>#,##0</c:formatCode>
                <c:ptCount val="26"/>
                <c:pt idx="0">
                  <c:v>6039.6008389420494</c:v>
                </c:pt>
                <c:pt idx="1">
                  <c:v>4797.7897681127743</c:v>
                </c:pt>
                <c:pt idx="2">
                  <c:v>7851.4313289360571</c:v>
                </c:pt>
                <c:pt idx="3">
                  <c:v>6685.9122554600544</c:v>
                </c:pt>
                <c:pt idx="4" formatCode="General">
                  <c:v>7700</c:v>
                </c:pt>
                <c:pt idx="5">
                  <c:v>6176.3555772662821</c:v>
                </c:pt>
                <c:pt idx="6">
                  <c:v>7537.782188740196</c:v>
                </c:pt>
                <c:pt idx="7">
                  <c:v>6857.0390325418875</c:v>
                </c:pt>
                <c:pt idx="8" formatCode="General">
                  <c:v>6818</c:v>
                </c:pt>
                <c:pt idx="9" formatCode="General">
                  <c:v>7300</c:v>
                </c:pt>
                <c:pt idx="10" formatCode="General">
                  <c:v>11000</c:v>
                </c:pt>
                <c:pt idx="11" formatCode="General">
                  <c:v>11600</c:v>
                </c:pt>
                <c:pt idx="12" formatCode="General">
                  <c:v>10900</c:v>
                </c:pt>
                <c:pt idx="13" formatCode="General">
                  <c:v>9000</c:v>
                </c:pt>
                <c:pt idx="14">
                  <c:v>11000</c:v>
                </c:pt>
                <c:pt idx="15" formatCode="General">
                  <c:v>14600</c:v>
                </c:pt>
                <c:pt idx="16" formatCode="General">
                  <c:v>14700</c:v>
                </c:pt>
                <c:pt idx="17" formatCode="General">
                  <c:v>9600</c:v>
                </c:pt>
                <c:pt idx="18">
                  <c:v>12400</c:v>
                </c:pt>
                <c:pt idx="19" formatCode="General">
                  <c:v>11400</c:v>
                </c:pt>
                <c:pt idx="20" formatCode="General">
                  <c:v>9400</c:v>
                </c:pt>
                <c:pt idx="21" formatCode="General">
                  <c:v>7300</c:v>
                </c:pt>
                <c:pt idx="22">
                  <c:v>10400</c:v>
                </c:pt>
                <c:pt idx="23" formatCode="General">
                  <c:v>5900</c:v>
                </c:pt>
                <c:pt idx="24" formatCode="General">
                  <c:v>5500</c:v>
                </c:pt>
                <c:pt idx="25" formatCode="General">
                  <c:v>6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06-482A-AD06-8D94355D6B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1"/>
        <c:axId val="368210920"/>
        <c:axId val="368211704"/>
      </c:barChart>
      <c:catAx>
        <c:axId val="368210920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1704"/>
        <c:crosses val="autoZero"/>
        <c:auto val="1"/>
        <c:lblAlgn val="ctr"/>
        <c:lblOffset val="0"/>
        <c:tickLblSkip val="2"/>
        <c:noMultiLvlLbl val="0"/>
      </c:catAx>
      <c:valAx>
        <c:axId val="368211704"/>
        <c:scaling>
          <c:orientation val="minMax"/>
          <c:min val="-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0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1876346646111267E-2"/>
          <c:y val="0.91633433036153356"/>
          <c:w val="0.95491074975467694"/>
          <c:h val="6.60315770594803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fi-FI"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23.10.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A$2:$A$4</c:f>
              <c:strCache>
                <c:ptCount val="3"/>
                <c:pt idx="0">
                  <c:v>Liikevaihto on vuonna 2021 pienempi kuin 2020</c:v>
                </c:pt>
                <c:pt idx="1">
                  <c:v>Liikevaihto on vuonna 2021 suurin piirtein sama kuin 2020</c:v>
                </c:pt>
                <c:pt idx="2">
                  <c:v>Liikevaihto on vuonna 2021 suurempi kuin 2020</c:v>
                </c:pt>
              </c:strCache>
            </c:strRef>
          </c:cat>
          <c:val>
            <c:numRef>
              <c:f>Taul1!$B$2:$B$4</c:f>
              <c:numCache>
                <c:formatCode>0.0\ %</c:formatCode>
                <c:ptCount val="3"/>
                <c:pt idx="0">
                  <c:v>0.32661290322580644</c:v>
                </c:pt>
                <c:pt idx="1">
                  <c:v>0.3911290322580645</c:v>
                </c:pt>
                <c:pt idx="2">
                  <c:v>0.282258064516129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4E-48AE-A4F0-BFE891DEC9B3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7.12.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4</c:f>
              <c:strCache>
                <c:ptCount val="3"/>
                <c:pt idx="0">
                  <c:v>Liikevaihto on vuonna 2021 pienempi kuin 2020</c:v>
                </c:pt>
                <c:pt idx="1">
                  <c:v>Liikevaihto on vuonna 2021 suurin piirtein sama kuin 2020</c:v>
                </c:pt>
                <c:pt idx="2">
                  <c:v>Liikevaihto on vuonna 2021 suurempi kuin 2020</c:v>
                </c:pt>
              </c:strCache>
            </c:strRef>
          </c:cat>
          <c:val>
            <c:numRef>
              <c:f>Taul1!$C$2:$C$4</c:f>
              <c:numCache>
                <c:formatCode>0.0\ %</c:formatCode>
                <c:ptCount val="3"/>
                <c:pt idx="0">
                  <c:v>0.31015037593984962</c:v>
                </c:pt>
                <c:pt idx="1">
                  <c:v>0.35902255639097747</c:v>
                </c:pt>
                <c:pt idx="2">
                  <c:v>0.33082706766917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FA-40DA-A860-D085E95D0357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4.2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4</c:f>
              <c:strCache>
                <c:ptCount val="3"/>
                <c:pt idx="0">
                  <c:v>Liikevaihto on vuonna 2021 pienempi kuin 2020</c:v>
                </c:pt>
                <c:pt idx="1">
                  <c:v>Liikevaihto on vuonna 2021 suurin piirtein sama kuin 2020</c:v>
                </c:pt>
                <c:pt idx="2">
                  <c:v>Liikevaihto on vuonna 2021 suurempi kuin 2020</c:v>
                </c:pt>
              </c:strCache>
            </c:strRef>
          </c:cat>
          <c:val>
            <c:numRef>
              <c:f>Taul1!$D$2:$D$4</c:f>
              <c:numCache>
                <c:formatCode>0.0\ %</c:formatCode>
                <c:ptCount val="3"/>
                <c:pt idx="0">
                  <c:v>0.26</c:v>
                </c:pt>
                <c:pt idx="1">
                  <c:v>0.38</c:v>
                </c:pt>
                <c:pt idx="2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53-4B7A-8B83-725E0E6568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9125328"/>
        <c:axId val="409127296"/>
      </c:barChart>
      <c:catAx>
        <c:axId val="409125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7296"/>
        <c:crosses val="autoZero"/>
        <c:auto val="1"/>
        <c:lblAlgn val="ctr"/>
        <c:lblOffset val="100"/>
        <c:noMultiLvlLbl val="0"/>
      </c:catAx>
      <c:valAx>
        <c:axId val="409127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5328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r>
              <a:rPr lang="en-US" sz="11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knologiateollisuus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F2C89C3-1639-C64F-B7DC-4038F10D3C80}" type="slidenum">
              <a: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375265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5A0B3B4-F971-4AD3-B530-DE860EFC07D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4824388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339932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679871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1019807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1359744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1699681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2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59678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4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614260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5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14127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6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633717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0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082327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4554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6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68136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9" Type="http://schemas.openxmlformats.org/officeDocument/2006/relationships/image" Target="../media/image40.png"/><Relationship Id="rId21" Type="http://schemas.openxmlformats.org/officeDocument/2006/relationships/image" Target="../media/image22.png"/><Relationship Id="rId34" Type="http://schemas.openxmlformats.org/officeDocument/2006/relationships/image" Target="../media/image35.png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50" Type="http://schemas.openxmlformats.org/officeDocument/2006/relationships/image" Target="../media/image51.png"/><Relationship Id="rId55" Type="http://schemas.openxmlformats.org/officeDocument/2006/relationships/image" Target="../media/image56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png"/><Relationship Id="rId46" Type="http://schemas.openxmlformats.org/officeDocument/2006/relationships/image" Target="../media/image47.png"/><Relationship Id="rId59" Type="http://schemas.openxmlformats.org/officeDocument/2006/relationships/image" Target="../media/image60.emf"/><Relationship Id="rId2" Type="http://schemas.openxmlformats.org/officeDocument/2006/relationships/tags" Target="../tags/tag12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29" Type="http://schemas.openxmlformats.org/officeDocument/2006/relationships/image" Target="../media/image30.png"/><Relationship Id="rId41" Type="http://schemas.openxmlformats.org/officeDocument/2006/relationships/image" Target="../media/image42.png"/><Relationship Id="rId54" Type="http://schemas.openxmlformats.org/officeDocument/2006/relationships/image" Target="../media/image55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32" Type="http://schemas.openxmlformats.org/officeDocument/2006/relationships/image" Target="../media/image33.png"/><Relationship Id="rId37" Type="http://schemas.openxmlformats.org/officeDocument/2006/relationships/image" Target="../media/image38.png"/><Relationship Id="rId40" Type="http://schemas.openxmlformats.org/officeDocument/2006/relationships/image" Target="../media/image41.png"/><Relationship Id="rId45" Type="http://schemas.openxmlformats.org/officeDocument/2006/relationships/image" Target="../media/image46.png"/><Relationship Id="rId53" Type="http://schemas.openxmlformats.org/officeDocument/2006/relationships/image" Target="../media/image54.png"/><Relationship Id="rId58" Type="http://schemas.openxmlformats.org/officeDocument/2006/relationships/image" Target="../media/image59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36" Type="http://schemas.openxmlformats.org/officeDocument/2006/relationships/image" Target="../media/image37.png"/><Relationship Id="rId49" Type="http://schemas.openxmlformats.org/officeDocument/2006/relationships/image" Target="../media/image50.png"/><Relationship Id="rId57" Type="http://schemas.openxmlformats.org/officeDocument/2006/relationships/image" Target="../media/image58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31" Type="http://schemas.openxmlformats.org/officeDocument/2006/relationships/image" Target="../media/image32.png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60" Type="http://schemas.openxmlformats.org/officeDocument/2006/relationships/image" Target="../media/image61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56" Type="http://schemas.openxmlformats.org/officeDocument/2006/relationships/image" Target="../media/image57.png"/><Relationship Id="rId8" Type="http://schemas.openxmlformats.org/officeDocument/2006/relationships/image" Target="../media/image9.png"/><Relationship Id="rId51" Type="http://schemas.openxmlformats.org/officeDocument/2006/relationships/image" Target="../media/image52.png"/><Relationship Id="rId3" Type="http://schemas.openxmlformats.org/officeDocument/2006/relationships/tags" Target="../tags/tag1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69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11044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B4512B-9268-4DA6-A4DE-9BAC66E0AE0F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262288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4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5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7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F34066-C849-43D6-AD11-EC5B4E0FCE81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8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088662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AFD31-6E2D-43E4-B45F-A91916303127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042171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5A29F8-3631-43D8-937B-CB2D984A1FF3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4181846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1FFB15-5351-4C69-B4D2-8C0154A2BCAF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45300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4C9FC2-AB49-4BC7-8E34-F35776C6F0E4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6785004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D90D18-063C-4F97-88EB-7B998FCF1C84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5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982625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000000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0F905F96-8735-44CC-A79D-9FF4592D6200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4949955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9775427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1F9AB61F-25F5-4BAC-AFD2-7CF6AA8759C3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21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7171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22" name="Tekstin paikkamerkki 28"/>
          <p:cNvSpPr>
            <a:spLocks noGrp="1"/>
          </p:cNvSpPr>
          <p:nvPr>
            <p:ph type="body" sz="quarter" idx="20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29016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881898"/>
            <a:ext cx="6977283" cy="1165268"/>
          </a:xfrm>
          <a:prstGeom prst="rect">
            <a:avLst/>
          </a:prstGeom>
        </p:spPr>
        <p:txBody>
          <a:bodyPr>
            <a:normAutofit/>
          </a:bodyPr>
          <a:lstStyle>
            <a:lvl1pPr marL="108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6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pää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53C366-6A2C-43B9-A437-B827E0484441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4039037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2-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4E9C680B-B035-4481-9C89-9B8DCFA07DE9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1"/>
          </p:nvPr>
        </p:nvSpPr>
        <p:spPr>
          <a:xfrm>
            <a:off x="4449254" y="1565735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17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8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53580326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26EC10B7-6068-4592-8DF6-C21B5E169149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3"/>
            <a:ext cx="55296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55296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6775200" y="0"/>
            <a:ext cx="23688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2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8566840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B470C21F-BEA7-4001-A59E-ED99F75C48EF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5090400" y="0"/>
            <a:ext cx="4053606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7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38448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3216163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pelkälle kuv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91440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6411705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type="body" sz="quarter" idx="23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1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0" name="Sisällön paikkamerkki 4"/>
          <p:cNvSpPr>
            <a:spLocks noGrp="1"/>
          </p:cNvSpPr>
          <p:nvPr>
            <p:ph sz="quarter" idx="17"/>
          </p:nvPr>
        </p:nvSpPr>
        <p:spPr>
          <a:xfrm>
            <a:off x="1201739" y="1584200"/>
            <a:ext cx="6739862" cy="3010469"/>
          </a:xfrm>
        </p:spPr>
        <p:txBody>
          <a:bodyPr/>
          <a:lstStyle>
            <a:lvl1pPr marL="241200" indent="-212400">
              <a:buFont typeface="Arial" panose="020B0604020202020204" pitchFamily="34" charset="0"/>
              <a:buChar char="•"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C26F1C2C-1F3D-4324-8DB1-2B3A728EB293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26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</p:spTree>
    <p:extLst>
      <p:ext uri="{BB962C8B-B14F-4D97-AF65-F5344CB8AC3E}">
        <p14:creationId xmlns:p14="http://schemas.microsoft.com/office/powerpoint/2010/main" val="87594283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tauluko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00B1868B-515C-4A84-A79A-DDEC623D6CDB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1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3" name="Sisällön paikkamerkki 4"/>
          <p:cNvSpPr>
            <a:spLocks noGrp="1"/>
          </p:cNvSpPr>
          <p:nvPr>
            <p:ph sz="quarter" idx="23" hasCustomPrompt="1"/>
          </p:nvPr>
        </p:nvSpPr>
        <p:spPr>
          <a:xfrm>
            <a:off x="4572001" y="1584200"/>
            <a:ext cx="3369600" cy="2892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 dirty="0"/>
              <a:t>Lisää objekti</a:t>
            </a:r>
          </a:p>
        </p:txBody>
      </p:sp>
      <p:sp>
        <p:nvSpPr>
          <p:cNvPr id="12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68738636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isoille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252000" y="282150"/>
            <a:ext cx="7992000" cy="648000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7"/>
          </p:nvPr>
        </p:nvSpPr>
        <p:spPr>
          <a:xfrm>
            <a:off x="381000" y="1103313"/>
            <a:ext cx="8391525" cy="354171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</p:spTree>
    <p:extLst>
      <p:ext uri="{BB962C8B-B14F-4D97-AF65-F5344CB8AC3E}">
        <p14:creationId xmlns:p14="http://schemas.microsoft.com/office/powerpoint/2010/main" val="106746017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3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7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8328588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8D9E7F89-CFBC-40A6-849E-791F2CE17670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1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913747"/>
            <a:ext cx="7171200" cy="1176411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0734152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alko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2188674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D49F65-936D-47C1-B476-B10D0AC9DEC4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5695886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429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57151"/>
            <a:ext cx="8142287" cy="5140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1955006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6336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228877"/>
            <a:ext cx="8618537" cy="2854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0138993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A322E5-B71D-4377-B689-83E211BD4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7166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A322E5-B71D-4377-B689-83E211BD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92097" y="1160411"/>
            <a:ext cx="3637721" cy="886914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spcBef>
                <a:spcPts val="0"/>
              </a:spcBef>
              <a:defRPr sz="2400" spc="-30" baseline="0">
                <a:latin typeface="+mj-lt"/>
              </a:defRPr>
            </a:lvl1pPr>
          </a:lstStyle>
          <a:p>
            <a:pPr lvl="0"/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line</a:t>
            </a:r>
            <a:endParaRPr lang="fi-FI" dirty="0"/>
          </a:p>
          <a:p>
            <a:pPr lvl="0"/>
            <a:r>
              <a:rPr lang="fi-FI" dirty="0"/>
              <a:t>Second </a:t>
            </a:r>
            <a:r>
              <a:rPr lang="fi-FI" dirty="0" err="1"/>
              <a:t>line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2097" y="2094926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400" b="0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 SUBTITLE LINE AND SECOND LINE OF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92097" y="2731031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050" b="0" i="1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NOTHER SUBTITLE LINE E.G. FOR DATE</a:t>
            </a:r>
          </a:p>
        </p:txBody>
      </p:sp>
    </p:spTree>
    <p:extLst>
      <p:ext uri="{BB962C8B-B14F-4D97-AF65-F5344CB8AC3E}">
        <p14:creationId xmlns:p14="http://schemas.microsoft.com/office/powerpoint/2010/main" val="17970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ADBD48-2A4D-4DFE-A840-1CE2BC41E5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82263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288" imgH="288" progId="TCLayout.ActiveDocument.1">
                  <p:embed/>
                </p:oleObj>
              </mc:Choice>
              <mc:Fallback>
                <p:oleObj name="think-cell Slide" r:id="rId5" imgW="288" imgH="28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ADBD48-2A4D-4DFE-A840-1CE2BC41E5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21FD4C-0EA6-4506-B4AC-9F911CD102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fi-FI" sz="1800" b="1" i="0" baseline="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22991-DF40-428D-8278-DE0B22D4C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22EE1-19C0-47B3-AA8E-FB77BD29AC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32B6D-E343-4575-8379-34AAE525A7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38828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ONE - AL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34558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8419945-10F9-457B-A478-3D5BDAB1A9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21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141685"/>
            <a:ext cx="8618537" cy="582104"/>
          </a:xfrm>
        </p:spPr>
        <p:txBody>
          <a:bodyPr wrap="square" lIns="0" tIns="0" rIns="130101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100" b="1" i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76E75-BD4C-4462-8334-FA8FCB1878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8367" y="803781"/>
            <a:ext cx="5555456" cy="215504"/>
          </a:xfrm>
        </p:spPr>
        <p:txBody>
          <a:bodyPr/>
          <a:lstStyle>
            <a:lvl1pPr marL="0" indent="0">
              <a:buNone/>
              <a:defRPr sz="135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3AE6E4E-0D08-4BE0-B16A-6A251B1152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223" y="1099277"/>
            <a:ext cx="8632031" cy="3525111"/>
          </a:xfrm>
        </p:spPr>
        <p:txBody>
          <a:bodyPr/>
          <a:lstStyle>
            <a:lvl1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1pPr>
            <a:lvl2pPr marL="538163" indent="-214313">
              <a:buFont typeface="Arial" panose="020B0604020202020204" pitchFamily="34" charset="0"/>
              <a:buChar char="•"/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2pPr>
            <a:lvl3pPr marL="739379" indent="-269081">
              <a:buFont typeface="Arial" panose="020B0604020202020204" pitchFamily="34" charset="0"/>
              <a:buChar char="•"/>
              <a:tabLst>
                <a:tab pos="269081" algn="l"/>
              </a:tabLst>
              <a:defRPr sz="1050" b="0">
                <a:solidFill>
                  <a:schemeClr val="tx1"/>
                </a:solidFill>
              </a:defRPr>
            </a:lvl3pPr>
            <a:lvl4pPr marL="941785" indent="-269081">
              <a:tabLst>
                <a:tab pos="201216" algn="l"/>
              </a:tabLst>
              <a:defRPr sz="1050" b="0">
                <a:solidFill>
                  <a:schemeClr val="tx1"/>
                </a:solidFill>
              </a:defRPr>
            </a:lvl4pPr>
            <a:lvl5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84735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1E4BDAF-34B7-4244-A21A-1B4987C55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312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5" imgW="288" imgH="288" progId="TCLayout.ActiveDocument.1">
                  <p:embed/>
                </p:oleObj>
              </mc:Choice>
              <mc:Fallback>
                <p:oleObj name="think-cell Slide" r:id="rId5" imgW="288" imgH="288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1E4BDAF-34B7-4244-A21A-1B4987C55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03D4688-7EA2-4634-A456-D69C3FBD87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5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Freeform 11"/>
          <p:cNvSpPr>
            <a:spLocks noEditPoints="1"/>
          </p:cNvSpPr>
          <p:nvPr userDrawn="1"/>
        </p:nvSpPr>
        <p:spPr bwMode="auto">
          <a:xfrm>
            <a:off x="0" y="111126"/>
            <a:ext cx="4751388" cy="4927600"/>
          </a:xfrm>
          <a:custGeom>
            <a:avLst/>
            <a:gdLst>
              <a:gd name="T0" fmla="*/ 45 w 2993"/>
              <a:gd name="T1" fmla="*/ 67 h 3104"/>
              <a:gd name="T2" fmla="*/ 2948 w 2993"/>
              <a:gd name="T3" fmla="*/ 1243 h 3104"/>
              <a:gd name="T4" fmla="*/ 2948 w 2993"/>
              <a:gd name="T5" fmla="*/ 1861 h 3104"/>
              <a:gd name="T6" fmla="*/ 45 w 2993"/>
              <a:gd name="T7" fmla="*/ 3038 h 3104"/>
              <a:gd name="T8" fmla="*/ 45 w 2993"/>
              <a:gd name="T9" fmla="*/ 2458 h 3104"/>
              <a:gd name="T10" fmla="*/ 2174 w 2993"/>
              <a:gd name="T11" fmla="*/ 1594 h 3104"/>
              <a:gd name="T12" fmla="*/ 2278 w 2993"/>
              <a:gd name="T13" fmla="*/ 1554 h 3104"/>
              <a:gd name="T14" fmla="*/ 2174 w 2993"/>
              <a:gd name="T15" fmla="*/ 1511 h 3104"/>
              <a:gd name="T16" fmla="*/ 45 w 2993"/>
              <a:gd name="T17" fmla="*/ 647 h 3104"/>
              <a:gd name="T18" fmla="*/ 45 w 2993"/>
              <a:gd name="T19" fmla="*/ 67 h 3104"/>
              <a:gd name="T20" fmla="*/ 0 w 2993"/>
              <a:gd name="T21" fmla="*/ 0 h 3104"/>
              <a:gd name="T22" fmla="*/ 0 w 2993"/>
              <a:gd name="T23" fmla="*/ 678 h 3104"/>
              <a:gd name="T24" fmla="*/ 2157 w 2993"/>
              <a:gd name="T25" fmla="*/ 1554 h 3104"/>
              <a:gd name="T26" fmla="*/ 0 w 2993"/>
              <a:gd name="T27" fmla="*/ 2427 h 3104"/>
              <a:gd name="T28" fmla="*/ 0 w 2993"/>
              <a:gd name="T29" fmla="*/ 3104 h 3104"/>
              <a:gd name="T30" fmla="*/ 2993 w 2993"/>
              <a:gd name="T31" fmla="*/ 1892 h 3104"/>
              <a:gd name="T32" fmla="*/ 2993 w 2993"/>
              <a:gd name="T33" fmla="*/ 1213 h 3104"/>
              <a:gd name="T34" fmla="*/ 0 w 2993"/>
              <a:gd name="T35" fmla="*/ 0 h 3104"/>
              <a:gd name="T36" fmla="*/ 0 w 2993"/>
              <a:gd name="T37" fmla="*/ 0 h 3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93" h="3104">
                <a:moveTo>
                  <a:pt x="45" y="67"/>
                </a:moveTo>
                <a:lnTo>
                  <a:pt x="2948" y="1243"/>
                </a:lnTo>
                <a:lnTo>
                  <a:pt x="2948" y="1861"/>
                </a:lnTo>
                <a:lnTo>
                  <a:pt x="45" y="3038"/>
                </a:lnTo>
                <a:lnTo>
                  <a:pt x="45" y="2458"/>
                </a:lnTo>
                <a:lnTo>
                  <a:pt x="2174" y="1594"/>
                </a:lnTo>
                <a:lnTo>
                  <a:pt x="2278" y="1554"/>
                </a:lnTo>
                <a:lnTo>
                  <a:pt x="2174" y="1511"/>
                </a:lnTo>
                <a:lnTo>
                  <a:pt x="45" y="647"/>
                </a:lnTo>
                <a:lnTo>
                  <a:pt x="45" y="67"/>
                </a:lnTo>
                <a:moveTo>
                  <a:pt x="0" y="0"/>
                </a:moveTo>
                <a:lnTo>
                  <a:pt x="0" y="678"/>
                </a:lnTo>
                <a:lnTo>
                  <a:pt x="2157" y="1554"/>
                </a:lnTo>
                <a:lnTo>
                  <a:pt x="0" y="2427"/>
                </a:lnTo>
                <a:lnTo>
                  <a:pt x="0" y="3104"/>
                </a:lnTo>
                <a:lnTo>
                  <a:pt x="2993" y="1892"/>
                </a:lnTo>
                <a:lnTo>
                  <a:pt x="2993" y="1213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 sz="1800" dirty="0"/>
          </a:p>
        </p:txBody>
      </p:sp>
      <p:pic>
        <p:nvPicPr>
          <p:cNvPr id="2" name="GTS_Technology_DIMENSIONAL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9" name="GTS_Technology_KEYLINE_darkBG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4" name="GTS_Technology_KEYLINE_lightBG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7" name="GTS_Technology_GRADIENT_darkBG" hidden="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" name="GTS_Technology_GRADIENT_lightBG" hidden="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98" name="Acc_TechnologyBLACK" hidden="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245745"/>
            <a:ext cx="2571743" cy="448221"/>
          </a:xfrm>
          <a:prstGeom prst="rect">
            <a:avLst/>
          </a:prstGeom>
        </p:spPr>
      </p:pic>
      <p:pic>
        <p:nvPicPr>
          <p:cNvPr id="99" name="Acc_TechnologyWHITE" hidden="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237173"/>
            <a:ext cx="2571967" cy="462048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2" name="GTS_Strategy_DIMENSIONAL_darkBG" hidden="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264363"/>
            <a:ext cx="2219990" cy="400856"/>
          </a:xfrm>
          <a:prstGeom prst="rect">
            <a:avLst/>
          </a:prstGeom>
        </p:spPr>
      </p:pic>
      <p:pic>
        <p:nvPicPr>
          <p:cNvPr id="20" name="GTS_Operations_KEYLINE_darkBG" hidden="1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7" name="GTS_Operations_KEYLINE_lightBG" hidden="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9" name="GTS_Operations_GRADIENT_darkBG" hidden="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6" name="GTS_Operations_GRADIENT_lightBG" hidden="1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5" name="GTS_Operations_DIMENSIONAL" hidden="1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2" name="Acc_OperationsWHITE" hidden="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203" y="248023"/>
            <a:ext cx="2467235" cy="445500"/>
          </a:xfrm>
          <a:prstGeom prst="rect">
            <a:avLst/>
          </a:prstGeom>
        </p:spPr>
      </p:pic>
      <p:pic>
        <p:nvPicPr>
          <p:cNvPr id="105" name="Acc_OperationsBLACK" hidden="1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2154" y="242888"/>
            <a:ext cx="2459804" cy="444158"/>
          </a:xfrm>
          <a:prstGeom prst="rect">
            <a:avLst/>
          </a:prstGeom>
        </p:spPr>
      </p:pic>
      <p:pic>
        <p:nvPicPr>
          <p:cNvPr id="106" name="Acc_MobilityBLACK" hidden="1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9"/>
            <a:ext cx="2571656" cy="395759"/>
          </a:xfrm>
          <a:prstGeom prst="rect">
            <a:avLst/>
          </a:prstGeom>
        </p:spPr>
      </p:pic>
      <p:pic>
        <p:nvPicPr>
          <p:cNvPr id="107" name="Acc_MobilityWHITE" hidden="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8"/>
            <a:ext cx="2574401" cy="396900"/>
          </a:xfrm>
          <a:prstGeom prst="rect">
            <a:avLst/>
          </a:prstGeom>
        </p:spPr>
      </p:pic>
      <p:pic>
        <p:nvPicPr>
          <p:cNvPr id="108" name="Acc_InteractiveBLACK" hidden="1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7"/>
            <a:ext cx="2581436" cy="389240"/>
          </a:xfrm>
          <a:prstGeom prst="rect">
            <a:avLst/>
          </a:prstGeom>
        </p:spPr>
      </p:pic>
      <p:pic>
        <p:nvPicPr>
          <p:cNvPr id="109" name="Acc_InteractiveWHITE" hidden="1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8"/>
            <a:ext cx="2578836" cy="388800"/>
          </a:xfrm>
          <a:prstGeom prst="rect">
            <a:avLst/>
          </a:prstGeom>
        </p:spPr>
      </p:pic>
      <p:pic>
        <p:nvPicPr>
          <p:cNvPr id="110" name="Acc_AnalyticsBLACK" hidden="1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402275"/>
            <a:ext cx="2570702" cy="396453"/>
          </a:xfrm>
          <a:prstGeom prst="rect">
            <a:avLst/>
          </a:prstGeom>
        </p:spPr>
      </p:pic>
      <p:pic>
        <p:nvPicPr>
          <p:cNvPr id="111" name="Acc_AnalyticsWHITE" hidden="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402275"/>
            <a:ext cx="2581436" cy="396900"/>
          </a:xfrm>
          <a:prstGeom prst="rect">
            <a:avLst/>
          </a:prstGeom>
        </p:spPr>
      </p:pic>
      <p:pic>
        <p:nvPicPr>
          <p:cNvPr id="24" name="GTS_Digital_KEYLINE_darkBG" hidden="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3" name="GTS_Digital_KEYLINE_lightBG" hidden="1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5" name="GTS_Digital_GRADIENT_darkBG" hidden="1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2" name="GTS_Digital_GRADIENT_lightBG" hidden="1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6" name="GTS_Digital_DIMENSIONAL_darkBG" hidden="1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1" name="GTS_Digital_DIMENSIONAL_lightBG" hidden="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2" name="Acc_DigitalWHITE" hidden="1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1954"/>
            <a:ext cx="1935692" cy="374979"/>
          </a:xfrm>
          <a:prstGeom prst="rect">
            <a:avLst/>
          </a:prstGeom>
        </p:spPr>
      </p:pic>
      <p:pic>
        <p:nvPicPr>
          <p:cNvPr id="113" name="Acc_DigitalBLACK" hidden="1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2247"/>
            <a:ext cx="1933787" cy="374732"/>
          </a:xfrm>
          <a:prstGeom prst="rect">
            <a:avLst/>
          </a:prstGeom>
        </p:spPr>
      </p:pic>
      <p:pic>
        <p:nvPicPr>
          <p:cNvPr id="35" name="GTS_Consulting_KEYLINE_darkBG" hidden="1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30" name="GTS_Consulting_KEYLINE_lightBG" hidden="1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4" name="GTS_Consulting_GRADIENT_darkBG" hidden="1"/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9" name="GTS_Consulting_GRADIENT_lightBG" hidden="1"/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8" name="GTS_Consulting_DIMENSIONAL" hidden="1"/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4" name="Acc_ConsultingWHITE" hidden="1"/>
          <p:cNvPicPr>
            <a:picLocks noChangeAspect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52563"/>
            <a:ext cx="2419160" cy="434123"/>
          </a:xfrm>
          <a:prstGeom prst="rect">
            <a:avLst/>
          </a:prstGeom>
        </p:spPr>
      </p:pic>
      <p:pic>
        <p:nvPicPr>
          <p:cNvPr id="115" name="Acc_ConsultingBLACK" hidden="1"/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76584"/>
            <a:ext cx="2419160" cy="380366"/>
          </a:xfrm>
          <a:prstGeom prst="rect">
            <a:avLst/>
          </a:prstGeom>
        </p:spPr>
      </p:pic>
      <p:pic>
        <p:nvPicPr>
          <p:cNvPr id="52" name="GTS_Master_GRADIENT_09" hidden="1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3" name="GTS_Master_GRADIENT_08" hidden="1"/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4" name="GTS_Master_GRADIENT_07" hidden="1"/>
          <p:cNvPicPr>
            <a:picLocks noChangeAspect="1"/>
          </p:cNvPicPr>
          <p:nvPr userDrawn="1"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5" name="GTS_Master_GRADIENT_06" hidden="1"/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6" name="GTS_Master_DIMENSIONAL_08" hidden="1"/>
          <p:cNvPicPr>
            <a:picLocks noChangeAspect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7" name="GTS_Master_DIMENSIONAL_07" hidden="1"/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8" name="GTS_Master_DIMENSIONAL_04" hidden="1"/>
          <p:cNvPicPr>
            <a:picLocks noChangeAspect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9" name="GTS_Master_TWO-TONE_05" hidden="1"/>
          <p:cNvPicPr>
            <a:picLocks noChangeAspect="1"/>
          </p:cNvPicPr>
          <p:nvPr userDrawn="1"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0" name="GTS_Master_TWO-TONE_04" hidden="1"/>
          <p:cNvPicPr>
            <a:picLocks noChangeAspect="1"/>
          </p:cNvPicPr>
          <p:nvPr userDrawn="1"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1" name="GTS_Master_TWO-TONE_03" hidden="1"/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2" name="GTS_Master_TWO-TONE_02" hidden="1"/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3" name="GTS_Master_TWO-TONE_01" hidden="1"/>
          <p:cNvPicPr>
            <a:picLocks noChangeAspect="1"/>
          </p:cNvPicPr>
          <p:nvPr userDrawn="1"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grpSp>
        <p:nvGrpSpPr>
          <p:cNvPr id="46" name="Acc_MasterWHITE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638475" y="1219200"/>
            <a:chExt cx="1389888" cy="373063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grpSp>
        <p:nvGrpSpPr>
          <p:cNvPr id="49" name="Acc_MasterBLACK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563100" y="1673029"/>
            <a:chExt cx="1389888" cy="373063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6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51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70E6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290828" y="3805392"/>
            <a:ext cx="2892247" cy="780896"/>
          </a:xfr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1500" b="0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i-FI" dirty="0"/>
              <a:t>SUBTITLE LINE</a:t>
            </a:r>
            <a:br>
              <a:rPr lang="fi-FI" dirty="0"/>
            </a:br>
            <a:r>
              <a:rPr lang="fi-FI" dirty="0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5287018" y="1388745"/>
            <a:ext cx="3524842" cy="2377427"/>
          </a:xfrm>
        </p:spPr>
        <p:txBody>
          <a:bodyPr tIns="252000" anchor="ctr"/>
          <a:lstStyle>
            <a:lvl1pPr>
              <a:lnSpc>
                <a:spcPct val="70000"/>
              </a:lnSpc>
              <a:defRPr sz="4500" spc="-113" baseline="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br>
              <a:rPr lang="fi-FI" dirty="0"/>
            </a:br>
            <a:r>
              <a:rPr lang="fi-FI" dirty="0"/>
              <a:t>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17755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70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068013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114E9B-AF34-462B-9107-FB4A4FE20955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3052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552848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D0C29F-D373-4791-88C9-86C29F06AD83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4770107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870B0A-5FAA-48CC-9422-68AAC5A5CADB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21"/>
          </p:nvPr>
        </p:nvSpPr>
        <p:spPr>
          <a:xfrm>
            <a:off x="1072800" y="158488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4742819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A50D0A-99B9-48FE-8B08-047EE10ADBDA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6231165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EF2A4B-BD6C-442B-B37A-933F3A2F5101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139381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CBEF-2865-4434-A020-1FAA7DCEF42D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050194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33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282027" y="4728047"/>
            <a:ext cx="919711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1B16F53B-7158-4458-A0D4-1436C88C6842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111307" y="4728047"/>
            <a:ext cx="1296094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26" name="Tekstin paikkamerkki 3"/>
          <p:cNvSpPr>
            <a:spLocks noGrp="1"/>
          </p:cNvSpPr>
          <p:nvPr>
            <p:ph type="body" idx="1"/>
          </p:nvPr>
        </p:nvSpPr>
        <p:spPr>
          <a:xfrm>
            <a:off x="1072801" y="1583532"/>
            <a:ext cx="7171199" cy="2893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27" name="Otsikon paikkamerkki 2"/>
          <p:cNvSpPr>
            <a:spLocks noGrp="1"/>
          </p:cNvSpPr>
          <p:nvPr>
            <p:ph type="title"/>
          </p:nvPr>
        </p:nvSpPr>
        <p:spPr>
          <a:xfrm>
            <a:off x="1072801" y="1102950"/>
            <a:ext cx="7171199" cy="3671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3" name="Dian numeron paikkamerkki 1"/>
          <p:cNvSpPr>
            <a:spLocks noGrp="1"/>
          </p:cNvSpPr>
          <p:nvPr>
            <p:ph type="sldNum" sz="quarter" idx="4"/>
          </p:nvPr>
        </p:nvSpPr>
        <p:spPr>
          <a:xfrm>
            <a:off x="8005977" y="4729163"/>
            <a:ext cx="863990" cy="16668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994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1" r:id="rId2"/>
    <p:sldLayoutId id="2147483664" r:id="rId3"/>
    <p:sldLayoutId id="2147483679" r:id="rId4"/>
    <p:sldLayoutId id="2147483665" r:id="rId5"/>
    <p:sldLayoutId id="2147483681" r:id="rId6"/>
    <p:sldLayoutId id="2147483666" r:id="rId7"/>
    <p:sldLayoutId id="2147483682" r:id="rId8"/>
    <p:sldLayoutId id="2147483667" r:id="rId9"/>
    <p:sldLayoutId id="2147483683" r:id="rId10"/>
    <p:sldLayoutId id="2147483668" r:id="rId11"/>
    <p:sldLayoutId id="2147483684" r:id="rId12"/>
    <p:sldLayoutId id="2147483669" r:id="rId13"/>
    <p:sldLayoutId id="2147483685" r:id="rId14"/>
    <p:sldLayoutId id="2147483670" r:id="rId15"/>
    <p:sldLayoutId id="2147483686" r:id="rId16"/>
    <p:sldLayoutId id="2147483671" r:id="rId17"/>
    <p:sldLayoutId id="2147483687" r:id="rId18"/>
    <p:sldLayoutId id="2147483702" r:id="rId19"/>
    <p:sldLayoutId id="2147483704" r:id="rId20"/>
    <p:sldLayoutId id="2147483680" r:id="rId21"/>
    <p:sldLayoutId id="2147483674" r:id="rId22"/>
    <p:sldLayoutId id="2147483691" r:id="rId23"/>
    <p:sldLayoutId id="2147483700" r:id="rId24"/>
    <p:sldLayoutId id="2147483696" r:id="rId25"/>
    <p:sldLayoutId id="2147483673" r:id="rId26"/>
    <p:sldLayoutId id="2147483703" r:id="rId27"/>
    <p:sldLayoutId id="2147483707" r:id="rId28"/>
    <p:sldLayoutId id="2147483708" r:id="rId29"/>
  </p:sldLayoutIdLst>
  <p:transition spd="med">
    <p:fade/>
  </p:transition>
  <p:hf hdr="0"/>
  <p:txStyles>
    <p:titleStyle>
      <a:lvl1pPr marL="14400" algn="l" defTabSz="806052" rtl="0" eaLnBrk="1" latinLnBrk="0" hangingPunct="1">
        <a:lnSpc>
          <a:spcPts val="2700"/>
        </a:lnSpc>
        <a:spcBef>
          <a:spcPts val="0"/>
        </a:spcBef>
        <a:spcAft>
          <a:spcPts val="0"/>
        </a:spcAft>
        <a:buNone/>
        <a:defRPr sz="2200" b="1" kern="1200" spc="-35" baseline="0">
          <a:solidFill>
            <a:srgbClr val="000000"/>
          </a:solidFill>
          <a:latin typeface="+mj-lt"/>
          <a:ea typeface="Adobe Fan Heiti Std B" panose="020B0700000000000000" pitchFamily="34" charset="-128"/>
          <a:cs typeface="Adobe Hebrew" panose="02040503050201020203" pitchFamily="18" charset="-79"/>
        </a:defRPr>
      </a:lvl1pPr>
    </p:titleStyle>
    <p:bodyStyle>
      <a:lvl1pPr marL="234000" indent="-212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6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29732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3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4459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anose="020B0604020202020204" pitchFamily="34" charset="0"/>
        <a:buChar char="•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6785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82718" indent="-158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0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216640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6pPr>
      <a:lvl7pPr marL="2619666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7pPr>
      <a:lvl8pPr marL="3022694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8pPr>
      <a:lvl9pPr marL="3425719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40302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806052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209078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6121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2015123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418157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82118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2242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0" pos="5520" userDrawn="1">
          <p15:clr>
            <a:srgbClr val="F26B43"/>
          </p15:clr>
        </p15:guide>
        <p15:guide id="22" orient="horz" pos="3062" userDrawn="1">
          <p15:clr>
            <a:srgbClr val="F26B43"/>
          </p15:clr>
        </p15:guide>
        <p15:guide id="23" orient="horz" pos="232" userDrawn="1">
          <p15:clr>
            <a:srgbClr val="F26B43"/>
          </p15:clr>
        </p15:guide>
        <p15:guide id="26" pos="240" userDrawn="1">
          <p15:clr>
            <a:srgbClr val="F26B43"/>
          </p15:clr>
        </p15:guide>
        <p15:guide id="27" pos="7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10497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2999A80-A87B-4C57-8050-86B60043C63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4" y="114577"/>
            <a:ext cx="8618537" cy="58210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fi-FI" dirty="0"/>
              <a:t>Content </a:t>
            </a:r>
            <a:r>
              <a:rPr lang="fi-FI" dirty="0" err="1"/>
              <a:t>title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5" y="4933765"/>
            <a:ext cx="578213" cy="14421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31937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5" r:id="rId5"/>
    <p:sldLayoutId id="2147483716" r:id="rId6"/>
    <p:sldLayoutId id="2147483717" r:id="rId7"/>
  </p:sldLayoutIdLst>
  <p:hf hdr="0" ftr="0" dt="0"/>
  <p:txStyles>
    <p:titleStyle>
      <a:lvl1pPr algn="l" defTabSz="1300976" rtl="0" eaLnBrk="1" latinLnBrk="0" hangingPunct="1">
        <a:lnSpc>
          <a:spcPct val="80000"/>
        </a:lnSpc>
        <a:spcBef>
          <a:spcPct val="0"/>
        </a:spcBef>
        <a:buNone/>
        <a:defRPr lang="en-US" sz="1800" b="1" i="0" kern="1200" cap="none" spc="0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</p:titleStyle>
    <p:bodyStyle>
      <a:lvl1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46" indent="-136522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488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0976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46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1952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44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2927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415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390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4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6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66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50FC3B40-AC30-46E2-BCAD-E388935D7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/>
              <a:t>Teknologiateollisuuden talousnäkymät</a:t>
            </a:r>
            <a:endParaRPr lang="fi-FI" dirty="0"/>
          </a:p>
          <a:p>
            <a:r>
              <a:rPr lang="fi-FI" dirty="0"/>
              <a:t>4.2.2021</a:t>
            </a:r>
          </a:p>
          <a:p>
            <a:endParaRPr lang="fi-FI" dirty="0"/>
          </a:p>
          <a:p>
            <a:r>
              <a:rPr lang="fi-FI" dirty="0"/>
              <a:t>Pääekonomisti</a:t>
            </a:r>
          </a:p>
          <a:p>
            <a:r>
              <a:rPr lang="fi-FI" dirty="0"/>
              <a:t>Petteri Rautaporras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E6AE94-550F-4A51-A044-3C71A83A3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AB86DA5-6B79-4508-BE0A-50E52FDDE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BE36005-B164-4A53-BF16-046D6853F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07371377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C206263-2FBC-4388-99DE-3677A24ED3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9512" y="280839"/>
            <a:ext cx="8136424" cy="648000"/>
          </a:xfrm>
        </p:spPr>
        <p:txBody>
          <a:bodyPr/>
          <a:lstStyle/>
          <a:p>
            <a:r>
              <a:rPr lang="fi-FI" dirty="0"/>
              <a:t>Heikko kysyntätilanne on alkanut viimein helpotta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D61B8DCF-DCB3-4984-9C5C-D8DA542BF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0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7910E6-DA0A-49E1-A6D8-6F020C481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3CBCE9-EAA9-46B0-8BF1-BE36DC256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18E8B046-CFAB-4548-870D-B60086FFDE2A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534864142"/>
              </p:ext>
            </p:extLst>
          </p:nvPr>
        </p:nvGraphicFramePr>
        <p:xfrm>
          <a:off x="107504" y="1301562"/>
          <a:ext cx="8928992" cy="3343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687ADC7-98F5-412F-B49B-43449BFC94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1" y="4659982"/>
            <a:ext cx="6269767" cy="483518"/>
          </a:xfrm>
        </p:spPr>
        <p:txBody>
          <a:bodyPr/>
          <a:lstStyle/>
          <a:p>
            <a:r>
              <a:rPr lang="fi-FI" dirty="0"/>
              <a:t>Lähde: Teknologiateollisuus ry:n koronapulssi –jäsenkyselyt</a:t>
            </a:r>
          </a:p>
          <a:p>
            <a:r>
              <a:rPr lang="fi-FI" dirty="0"/>
              <a:t>2.4.2020 n=581, 9.4.2020 n=584, 28.4.2020 n=640, 11.5.2020 n=584, 26.5.2020 n=550, 15.6.2020 n=529, 6.8.2020 n=428, 7.9.2020 n=579, 23.10.2020 n=496, 7.12.2020 n=532, 4.2.2021 n=523.</a:t>
            </a:r>
          </a:p>
          <a:p>
            <a:r>
              <a:rPr lang="fi-FI" dirty="0"/>
              <a:t>*) kysymystä ei esitetty 2.4 julkaistuissa tiedoissa.</a:t>
            </a:r>
          </a:p>
          <a:p>
            <a:endParaRPr lang="fi-FI" dirty="0"/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45D50DC8-ABBB-41E5-ADB8-3ED2DBB38EE2}"/>
              </a:ext>
            </a:extLst>
          </p:cNvPr>
          <p:cNvSpPr txBox="1"/>
          <p:nvPr/>
        </p:nvSpPr>
        <p:spPr>
          <a:xfrm>
            <a:off x="1792991" y="1062117"/>
            <a:ext cx="5904656" cy="3958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fi-FI" sz="1050" spc="-40" dirty="0">
                <a:solidFill>
                  <a:srgbClr val="000000"/>
                </a:solidFill>
              </a:rPr>
              <a:t>Minkä verran ks. Ongelma vaikeuttaa yrityksen toimintaa tällä hetkellä?</a:t>
            </a:r>
          </a:p>
          <a:p>
            <a:pPr algn="ctr"/>
            <a:r>
              <a:rPr lang="fi-FI" sz="1050" spc="-40" dirty="0">
                <a:solidFill>
                  <a:srgbClr val="000000"/>
                </a:solidFill>
              </a:rPr>
              <a:t>Niiden yritysten osuus, jotka vastasivat ongelman vaikeuttavan toimintaa erittäin paljon</a:t>
            </a:r>
          </a:p>
        </p:txBody>
      </p:sp>
      <p:sp>
        <p:nvSpPr>
          <p:cNvPr id="8" name="Ellipsi 7">
            <a:extLst>
              <a:ext uri="{FF2B5EF4-FFF2-40B4-BE49-F238E27FC236}">
                <a16:creationId xmlns:a16="http://schemas.microsoft.com/office/drawing/2014/main" id="{02E00BFF-A841-4B67-BE9F-54AD561049C9}"/>
              </a:ext>
            </a:extLst>
          </p:cNvPr>
          <p:cNvSpPr/>
          <p:nvPr/>
        </p:nvSpPr>
        <p:spPr bwMode="auto">
          <a:xfrm>
            <a:off x="3829407" y="2811656"/>
            <a:ext cx="5040560" cy="432048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32050897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86397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/>
              <a:t>Teknologiateollisuuden yritysten saamat tarjouspyynnöt Suomessa* </a:t>
            </a:r>
            <a:endParaRPr lang="fi-FI" sz="1600" b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>
                <a:solidFill>
                  <a:srgbClr val="29282E"/>
                </a:solidFill>
              </a:rPr>
              <a:pPr/>
              <a:t>11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>
                <a:solidFill>
                  <a:srgbClr val="29282E"/>
                </a:solidFill>
              </a:rPr>
              <a:pPr/>
              <a:t>4.2.2021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29282E"/>
                </a:solidFill>
              </a:rPr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tilauskantatiedustelu, </a:t>
            </a:r>
          </a:p>
          <a:p>
            <a:r>
              <a:rPr lang="fi-FI" dirty="0"/>
              <a:t>viimeisin kyselyajankohta tammikuu 2020. </a:t>
            </a:r>
          </a:p>
          <a:p>
            <a:endParaRPr lang="fi-FI" dirty="0"/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sz="quarter" idx="17"/>
          </p:nvPr>
        </p:nvGraphicFramePr>
        <p:xfrm>
          <a:off x="381000" y="1081328"/>
          <a:ext cx="8391525" cy="330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uorakulmio 5"/>
          <p:cNvSpPr/>
          <p:nvPr/>
        </p:nvSpPr>
        <p:spPr>
          <a:xfrm>
            <a:off x="609192" y="4288357"/>
            <a:ext cx="82241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800" dirty="0"/>
              <a:t>*) ”Onko tarjouspyyntöjen määrässä viime viikkoina näkyvissä oleellista vähenemistä tai lisääntymistä, kun verrataan tilannetta noin kolme kuukautta sitten vallinneeseen tilanteeseen”. Saldoluku = niiden yritysten osuus, joissa tarjouspyyntöjen määrä on lisääntynyt – niiden yritysten määrä, joissa tarjouspyyntöjen määrä on vähentynyt. Negatiivinen saldoluku viittaa kysynnän heikentymiseen kolme kuukautta sitten vallinneeseen tilanteeseen nähden.</a:t>
            </a:r>
          </a:p>
        </p:txBody>
      </p:sp>
      <p:graphicFrame>
        <p:nvGraphicFramePr>
          <p:cNvPr id="10" name="Taulukko 9">
            <a:extLst>
              <a:ext uri="{FF2B5EF4-FFF2-40B4-BE49-F238E27FC236}">
                <a16:creationId xmlns:a16="http://schemas.microsoft.com/office/drawing/2014/main" id="{CD03F6E4-A1DB-4839-B471-E329EB65AB8B}"/>
              </a:ext>
            </a:extLst>
          </p:cNvPr>
          <p:cNvGraphicFramePr>
            <a:graphicFrameLocks noGrp="1"/>
          </p:cNvGraphicFramePr>
          <p:nvPr/>
        </p:nvGraphicFramePr>
        <p:xfrm>
          <a:off x="740375" y="2449415"/>
          <a:ext cx="7874991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632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9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2330874930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5078131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r>
              <a:rPr lang="fi-FI" dirty="0"/>
              <a:t>Teknologiateollisuuden*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.2.2021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loka-joulukuu 2020. </a:t>
            </a:r>
          </a:p>
          <a:p>
            <a:endParaRPr lang="fi-FI" dirty="0"/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876570197"/>
              </p:ext>
            </p:extLst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V/2020 / IV,2019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V,2020 / III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52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63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9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2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6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7255083" y="3953871"/>
            <a:ext cx="152164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Arial Unicode MS"/>
                <a:cs typeface="+mn-cs"/>
              </a:rPr>
              <a:t>*) Pl. metallien jalostus, pelialan ohjelmistoyritykset ja datakeskukset 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80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379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41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72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72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723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72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72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723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3586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5862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35862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35862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35862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1487886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i-FI" dirty="0"/>
              <a:t>Kone- ja metallituoteteollisuuden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>
                <a:solidFill>
                  <a:srgbClr val="29282E"/>
                </a:solidFill>
              </a:rPr>
              <a:pPr/>
              <a:t>13</a:t>
            </a:fld>
            <a:endParaRPr lang="fi-FI" dirty="0">
              <a:solidFill>
                <a:srgbClr val="29282E"/>
              </a:solidFill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>
                <a:solidFill>
                  <a:srgbClr val="29282E"/>
                </a:solidFill>
              </a:rPr>
              <a:pPr/>
              <a:t>4.2.2021</a:t>
            </a:fld>
            <a:endParaRPr lang="fi-FI" dirty="0">
              <a:solidFill>
                <a:srgbClr val="29282E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29282E"/>
                </a:solidFill>
              </a:rPr>
              <a:t>Teknologiateollisuus</a:t>
            </a:r>
            <a:endParaRPr lang="fi-FI" dirty="0">
              <a:solidFill>
                <a:srgbClr val="29282E"/>
              </a:solidFill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loka-joulukuu 2020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58780"/>
          <a:ext cx="8856984" cy="30033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58392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fi-FI" sz="1050" dirty="0">
                <a:solidFill>
                  <a:srgbClr val="29282E"/>
                </a:solidFill>
                <a:latin typeface="Verdana"/>
                <a:ea typeface="ＭＳ Ｐゴシック" pitchFamily="34" charset="-128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V,2020 / IV,2019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V,2020 / III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7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4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5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8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7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1" name="Taulukko 10">
            <a:extLst>
              <a:ext uri="{FF2B5EF4-FFF2-40B4-BE49-F238E27FC236}">
                <a16:creationId xmlns:a16="http://schemas.microsoft.com/office/drawing/2014/main" id="{63BA5FEA-A2F1-42AB-B927-582E2EEDDADF}"/>
              </a:ext>
            </a:extLst>
          </p:cNvPr>
          <p:cNvGraphicFramePr>
            <a:graphicFrameLocks noGrp="1"/>
          </p:cNvGraphicFramePr>
          <p:nvPr/>
        </p:nvGraphicFramePr>
        <p:xfrm>
          <a:off x="827585" y="3654445"/>
          <a:ext cx="6840755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26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28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61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61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61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261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2616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2616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2481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24813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24813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24813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24813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0971455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848392" cy="648000"/>
          </a:xfrm>
        </p:spPr>
        <p:txBody>
          <a:bodyPr/>
          <a:lstStyle/>
          <a:p>
            <a:r>
              <a:rPr lang="fi-FI" dirty="0"/>
              <a:t>Henkilöstömäärä jatkoi laskuaan vuoden 2020 viimeisellä neljänneksellä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4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henkilöstötiedustelu</a:t>
            </a:r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idx="4294967295"/>
          </p:nvPr>
        </p:nvGraphicFramePr>
        <p:xfrm>
          <a:off x="252000" y="1131590"/>
          <a:ext cx="8496464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Puhekupla: Suorakulmio, kulmat pyöristettu 8">
            <a:extLst>
              <a:ext uri="{FF2B5EF4-FFF2-40B4-BE49-F238E27FC236}">
                <a16:creationId xmlns:a16="http://schemas.microsoft.com/office/drawing/2014/main" id="{59DBF88F-0FF9-4F88-9B8E-A4B508B5926A}"/>
              </a:ext>
            </a:extLst>
          </p:cNvPr>
          <p:cNvSpPr/>
          <p:nvPr/>
        </p:nvSpPr>
        <p:spPr bwMode="auto">
          <a:xfrm>
            <a:off x="6637719" y="1000079"/>
            <a:ext cx="2232248" cy="648000"/>
          </a:xfrm>
          <a:prstGeom prst="wedgeRoundRectCallout">
            <a:avLst>
              <a:gd name="adj1" fmla="val 26246"/>
              <a:gd name="adj2" fmla="val 179557"/>
              <a:gd name="adj3" fmla="val 16667"/>
            </a:avLst>
          </a:prstGeom>
          <a:solidFill>
            <a:schemeClr val="bg2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i-FI" sz="1050" dirty="0"/>
              <a:t>Henkilöstöstä noin 28 000 lomautusjärjestelyiden piirissä 31.12.2020</a:t>
            </a:r>
          </a:p>
        </p:txBody>
      </p:sp>
    </p:spTree>
    <p:extLst>
      <p:ext uri="{BB962C8B-B14F-4D97-AF65-F5344CB8AC3E}">
        <p14:creationId xmlns:p14="http://schemas.microsoft.com/office/powerpoint/2010/main" val="3926641037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C206263-2FBC-4388-99DE-3677A24ED3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ritysten odotukset koko vuodelle 2021 ovat parantuneet, mutta vielä verraten niukasti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D61B8DCF-DCB3-4984-9C5C-D8DA542BF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5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7910E6-DA0A-49E1-A6D8-6F020C481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3CBCE9-EAA9-46B0-8BF1-BE36DC256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18E8B046-CFAB-4548-870D-B60086FFDE2A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843062671"/>
              </p:ext>
            </p:extLst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687ADC7-98F5-412F-B49B-43449BFC94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3533462" cy="292448"/>
          </a:xfrm>
        </p:spPr>
        <p:txBody>
          <a:bodyPr/>
          <a:lstStyle/>
          <a:p>
            <a:r>
              <a:rPr lang="fi-FI" dirty="0"/>
              <a:t>Lähde: Teknologiateollisuus ry:n koronapulssi –jäsenkyselyt</a:t>
            </a:r>
          </a:p>
          <a:p>
            <a:r>
              <a:rPr lang="fi-FI" dirty="0"/>
              <a:t>23.10.2020 n=496, 7.12.2020 n=532.</a:t>
            </a:r>
          </a:p>
        </p:txBody>
      </p:sp>
      <p:sp>
        <p:nvSpPr>
          <p:cNvPr id="8" name="Tekstiruutu 7">
            <a:extLst>
              <a:ext uri="{FF2B5EF4-FFF2-40B4-BE49-F238E27FC236}">
                <a16:creationId xmlns:a16="http://schemas.microsoft.com/office/drawing/2014/main" id="{03A6E3B0-5FBD-4EC6-893B-FFB382725403}"/>
              </a:ext>
            </a:extLst>
          </p:cNvPr>
          <p:cNvSpPr txBox="1"/>
          <p:nvPr/>
        </p:nvSpPr>
        <p:spPr>
          <a:xfrm>
            <a:off x="899592" y="1020291"/>
            <a:ext cx="7560840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Miten arvioitte yrityksenne liikevaihdon kehittyvän vuonna 2021 verrattuna vuoteen 2020? Osuus yrityksistä, %</a:t>
            </a:r>
          </a:p>
        </p:txBody>
      </p:sp>
    </p:spTree>
    <p:extLst>
      <p:ext uri="{BB962C8B-B14F-4D97-AF65-F5344CB8AC3E}">
        <p14:creationId xmlns:p14="http://schemas.microsoft.com/office/powerpoint/2010/main" val="1533151879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1EEA068-123C-4013-B1BB-62E35EE52D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hteenveto teknologiateollisuuden tilantees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D8F70A0-36D3-4221-BBF8-ACBFA7903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6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7E1D219-EF19-43BE-A264-915D60C2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4DFD2AD-AFC5-4975-8D04-12C391F42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438E4283-469C-4E61-9967-BB1E108BD8A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6237" y="886427"/>
            <a:ext cx="8391525" cy="3740000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Teknologiateollisuudessa torjuntavoitto ensimmäisenä koronavuotena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00" dirty="0"/>
              <a:t>Menetyksiltä ei silti vältytty, ja tilanne oli erittäin vaikea lukuisissa yrityksissä vuoden aikana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00" dirty="0"/>
              <a:t>Polarisaatio yritysten välillä jatkuu. Edelleen on suuri joukko yrityksillä joilla, tilauksia tuli aiempaa vähemmä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Uudet tilaukset kasvoivat selvästi vuoden viimeisellä neljänneksellä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Myös yritysten arvioit nykytilasta ja lähiajan näkymistä ovat kirkastuneet selväst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Koko vuotta 2021 koskevat arviot ovat myös piristyneet, mutta edelleen suuri joukko yrityksiä näkee tilanteen pitkässä juoksussa vaikeana.</a:t>
            </a:r>
            <a:endParaRPr lang="fi-FI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Koronan toisen aallon vaikutus ollut toistaiseksi verraten maltillinen teollisuuteen meillä ja maailmalla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00" dirty="0">
                <a:sym typeface="Wingdings" panose="05000000000000000000" pitchFamily="2" charset="2"/>
              </a:rPr>
              <a:t>Riskit eivät ole kuitenkaan poistuneet mihinkään, eikä merkittäviäkään häiriöitä voi poissulkea ennen epidemian talttumis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Yritysten väliset erot jatkuvat suurina, vaikka keskimäärin tilanne on helpottanut selvästi.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DC11B62-82CC-4782-8C0B-21C0007614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0922604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0907C84-4663-4DC6-B126-256840B874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Jaakko </a:t>
            </a:r>
            <a:r>
              <a:rPr lang="fi-FI" dirty="0" err="1"/>
              <a:t>Hirvola</a:t>
            </a:r>
            <a:endParaRPr lang="fi-FI" dirty="0"/>
          </a:p>
          <a:p>
            <a:endParaRPr lang="fi-FI" dirty="0"/>
          </a:p>
          <a:p>
            <a:r>
              <a:rPr lang="fi-FI" dirty="0"/>
              <a:t>Pysytään kyydissä, satsataan kasvuun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7A68CCB8-33EA-41B5-9F9A-507D87401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7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243FC3-653F-4D19-92B4-86E65DAC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5844D15-59B2-4253-AD9D-BEE0FD80F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29075840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E434BD08-68AA-49E7-8874-B33FEC0002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72800" y="1924882"/>
            <a:ext cx="7459640" cy="1165268"/>
          </a:xfrm>
        </p:spPr>
        <p:txBody>
          <a:bodyPr/>
          <a:lstStyle/>
          <a:p>
            <a:r>
              <a:rPr lang="fi-FI" dirty="0"/>
              <a:t>Minna Helle</a:t>
            </a:r>
          </a:p>
          <a:p>
            <a:endParaRPr lang="fi-FI" dirty="0"/>
          </a:p>
          <a:p>
            <a:r>
              <a:rPr lang="fi-FI" dirty="0"/>
              <a:t>Paikallinen sopiminen on työllisyyskysymys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D7FD3004-FE47-41B4-B817-B53AA5923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8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9E324D26-59C9-445F-8422-F2172BB50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5A29F8-3631-43D8-937B-CB2D984A1FF3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CCFF203-F081-4404-A1F5-4EA550BBE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28374377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25165083-82DB-4E44-8B62-0436D46FE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646" y="339502"/>
            <a:ext cx="7368745" cy="4388545"/>
          </a:xfrm>
        </p:spPr>
        <p:txBody>
          <a:bodyPr/>
          <a:lstStyle/>
          <a:p>
            <a:r>
              <a:rPr lang="fi-FI" dirty="0"/>
              <a:t>Taloudet ovat osoittaneet huomattavaa </a:t>
            </a:r>
            <a:r>
              <a:rPr lang="fi-FI" dirty="0" err="1"/>
              <a:t>resilienssiä</a:t>
            </a:r>
            <a:r>
              <a:rPr lang="fi-FI" dirty="0"/>
              <a:t> koronan toisen aallon kurimuksessa</a:t>
            </a:r>
          </a:p>
          <a:p>
            <a:endParaRPr lang="fi-FI" dirty="0"/>
          </a:p>
          <a:p>
            <a:pPr marL="353700" indent="-342900">
              <a:buFont typeface="Arial" panose="020B0604020202020204" pitchFamily="34" charset="0"/>
              <a:buChar char="•"/>
            </a:pPr>
            <a:r>
              <a:rPr lang="fi-FI" sz="1800" dirty="0"/>
              <a:t>Koronan toisen aallon vaikutukset teollisuuteen olleet meillä ja maailmalla huomattavasti pelättyä vähäisemmät</a:t>
            </a:r>
          </a:p>
          <a:p>
            <a:pPr marL="657765" lvl="1" indent="-342900">
              <a:buFont typeface="Arial" panose="020B0604020202020204" pitchFamily="34" charset="0"/>
              <a:buChar char="•"/>
            </a:pPr>
            <a:r>
              <a:rPr lang="fi-FI" sz="1400" dirty="0">
                <a:solidFill>
                  <a:schemeClr val="bg1"/>
                </a:solidFill>
              </a:rPr>
              <a:t>Riskit ovat kuitenkin edelleen olemassa</a:t>
            </a:r>
          </a:p>
          <a:p>
            <a:pPr marL="657765" lvl="1" indent="-342900">
              <a:buFont typeface="Arial" panose="020B0604020202020204" pitchFamily="34" charset="0"/>
              <a:buChar char="•"/>
            </a:pPr>
            <a:endParaRPr lang="fi-FI" sz="1400" dirty="0">
              <a:solidFill>
                <a:schemeClr val="bg1"/>
              </a:solidFill>
            </a:endParaRPr>
          </a:p>
          <a:p>
            <a:pPr marL="353700" indent="-342900">
              <a:buFont typeface="Arial" panose="020B0604020202020204" pitchFamily="34" charset="0"/>
              <a:buChar char="•"/>
            </a:pPr>
            <a:r>
              <a:rPr lang="fi-FI" sz="1800" dirty="0"/>
              <a:t>Näkymä pandemian selättämisestä on piristänyt tilauksia ja tunnelmia teollisuudessa</a:t>
            </a:r>
          </a:p>
          <a:p>
            <a:pPr marL="657765" lvl="1" indent="-342900">
              <a:buFont typeface="Arial" panose="020B0604020202020204" pitchFamily="34" charset="0"/>
              <a:buChar char="•"/>
            </a:pPr>
            <a:r>
              <a:rPr lang="fi-FI" sz="1400" dirty="0">
                <a:solidFill>
                  <a:schemeClr val="bg1"/>
                </a:solidFill>
              </a:rPr>
              <a:t>Epäselvyydet rokotusaikatauluissa ja virusmutaatiot pitävät kuitenkin yllä epävarmuut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829D7C96-6092-444C-B8F9-982503A61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2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F7CDC9-FE49-461B-8232-A859BAC78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5A29F8-3631-43D8-937B-CB2D984A1FF3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A72096-0DE0-44E3-9830-9DCC21150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277682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1EA16522-6D7C-4EC7-AF1E-1A8A6FD709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7504" y="23434"/>
            <a:ext cx="8202913" cy="903272"/>
          </a:xfrm>
        </p:spPr>
        <p:txBody>
          <a:bodyPr/>
          <a:lstStyle/>
          <a:p>
            <a:pPr marL="10800"/>
            <a:r>
              <a:rPr lang="fi-FI" sz="2400" dirty="0"/>
              <a:t>Euroopan taloudessa nollakasvua tai pientä supistumista vuodenvaiheess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ADE0556-1A8B-4E29-A14B-AD5682B3E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3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4EE05AB-047C-4A5A-B3B0-A239B502E6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561BEF1-334D-435F-972D-18DA62231D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E5D8414E-05B2-45E8-B1A5-433C94DBAC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401919" cy="292448"/>
          </a:xfrm>
        </p:spPr>
        <p:txBody>
          <a:bodyPr/>
          <a:lstStyle/>
          <a:p>
            <a:r>
              <a:rPr lang="fi-FI" dirty="0"/>
              <a:t>Lähde: IHS Markit, Eurostat</a:t>
            </a:r>
          </a:p>
          <a:p>
            <a:r>
              <a:rPr lang="fi-FI" dirty="0"/>
              <a:t>Viimeisin tieto tammikuu 2021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363381DA-856B-4FE0-88EC-1D58A808626C}"/>
              </a:ext>
            </a:extLst>
          </p:cNvPr>
          <p:cNvSpPr txBox="1"/>
          <p:nvPr/>
        </p:nvSpPr>
        <p:spPr>
          <a:xfrm>
            <a:off x="818880" y="801786"/>
            <a:ext cx="7026277" cy="44049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fi-FI" spc="-40" dirty="0"/>
              <a:t>Euroalueen teollisuuden ja palveluiden ostopäällikköindeksi</a:t>
            </a:r>
          </a:p>
          <a:p>
            <a:pPr algn="ctr"/>
            <a:r>
              <a:rPr lang="fi-FI" sz="1050" dirty="0"/>
              <a:t>50 = ei muutosta edellisestä kuukaudesta. Yli 50 = kasvua, alle 50 = talous supistuu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58679CF2-5FFA-4479-8381-24ADAA3A21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8843" y="1238168"/>
            <a:ext cx="5912689" cy="349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875025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03BBF1FD-9DE0-41D6-BE9F-50764DBBC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4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173C5A0-0E27-4167-9C0B-B2000126C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9B74EA60-A953-4FE4-853C-7A9957BAC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733E520-6A08-4E9C-973B-B665E50E18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Eurostat, </a:t>
            </a:r>
            <a:r>
              <a:rPr lang="fi-FI" dirty="0" err="1"/>
              <a:t>Macrobond</a:t>
            </a:r>
            <a:endParaRPr lang="fi-FI" dirty="0"/>
          </a:p>
        </p:txBody>
      </p:sp>
      <p:graphicFrame>
        <p:nvGraphicFramePr>
          <p:cNvPr id="9" name="Sisällön paikkamerkki 8">
            <a:extLst>
              <a:ext uri="{FF2B5EF4-FFF2-40B4-BE49-F238E27FC236}">
                <a16:creationId xmlns:a16="http://schemas.microsoft.com/office/drawing/2014/main" id="{77D08159-59A8-4D26-8835-EADDC01FB2C4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2768646819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9" name="Sisällön paikkamerkki 8">
                        <a:extLst>
                          <a:ext uri="{FF2B5EF4-FFF2-40B4-BE49-F238E27FC236}">
                            <a16:creationId xmlns:a16="http://schemas.microsoft.com/office/drawing/2014/main" id="{77D08159-59A8-4D26-8835-EADDC01FB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kstiruutu 5">
            <a:extLst>
              <a:ext uri="{FF2B5EF4-FFF2-40B4-BE49-F238E27FC236}">
                <a16:creationId xmlns:a16="http://schemas.microsoft.com/office/drawing/2014/main" id="{ACB64D57-2C65-4115-B822-B4E241BFDD56}"/>
              </a:ext>
            </a:extLst>
          </p:cNvPr>
          <p:cNvSpPr txBox="1"/>
          <p:nvPr/>
        </p:nvSpPr>
        <p:spPr>
          <a:xfrm>
            <a:off x="781007" y="940812"/>
            <a:ext cx="4525392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Teollisuustuotannon volyymi-indeksi </a:t>
            </a:r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791C78E0-00E0-43A3-BD0C-8AECB56CA3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eollisuustuotanto jatkanut toipumistaan maailmalla</a:t>
            </a:r>
          </a:p>
        </p:txBody>
      </p:sp>
    </p:spTree>
    <p:extLst>
      <p:ext uri="{BB962C8B-B14F-4D97-AF65-F5344CB8AC3E}">
        <p14:creationId xmlns:p14="http://schemas.microsoft.com/office/powerpoint/2010/main" val="3588709971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BB0440D-C81A-46A2-A992-15D38EB509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1589" y="483518"/>
            <a:ext cx="6977283" cy="1165268"/>
          </a:xfrm>
        </p:spPr>
        <p:txBody>
          <a:bodyPr/>
          <a:lstStyle/>
          <a:p>
            <a:r>
              <a:rPr lang="fi-FI" dirty="0"/>
              <a:t>Tilanne ja näkymät suomalaisessa teknologiateollisuudessa ovat piristyneet selvästi, ainakin toistaiseksi</a:t>
            </a:r>
          </a:p>
          <a:p>
            <a:endParaRPr lang="fi-FI" dirty="0"/>
          </a:p>
          <a:p>
            <a:pPr marL="353700" indent="-342900">
              <a:buFont typeface="Arial" panose="020B0604020202020204" pitchFamily="34" charset="0"/>
              <a:buChar char="•"/>
            </a:pPr>
            <a:r>
              <a:rPr lang="fi-FI" sz="2000" dirty="0"/>
              <a:t>Uusissa tilauksissa selvää kasvua Q4/2020</a:t>
            </a:r>
          </a:p>
          <a:p>
            <a:pPr marL="353700" indent="-342900">
              <a:buFont typeface="Arial" panose="020B0604020202020204" pitchFamily="34" charset="0"/>
              <a:buChar char="•"/>
            </a:pPr>
            <a:endParaRPr lang="fi-FI" sz="2000" dirty="0"/>
          </a:p>
          <a:p>
            <a:pPr marL="353700" indent="-342900">
              <a:buFont typeface="Arial" panose="020B0604020202020204" pitchFamily="34" charset="0"/>
              <a:buChar char="•"/>
            </a:pPr>
            <a:r>
              <a:rPr lang="fi-FI" sz="2000" dirty="0"/>
              <a:t>Piristynyt tilanne koskee kaikkia toimialoja ja kaikenkokoisia yrityksiä</a:t>
            </a:r>
          </a:p>
          <a:p>
            <a:pPr marL="353700" indent="-342900">
              <a:buFont typeface="Arial" panose="020B0604020202020204" pitchFamily="34" charset="0"/>
              <a:buChar char="•"/>
            </a:pPr>
            <a:endParaRPr lang="fi-FI" sz="2000" dirty="0"/>
          </a:p>
          <a:p>
            <a:pPr marL="353700" indent="-342900">
              <a:buFont typeface="Arial" panose="020B0604020202020204" pitchFamily="34" charset="0"/>
              <a:buChar char="•"/>
            </a:pPr>
            <a:r>
              <a:rPr lang="fi-FI" sz="2000" dirty="0"/>
              <a:t>Yritysten välillä on kuitenkin edelleen suuria eroja. Suurella joukolla yrityksiä tilaukset jatkoivat edelleen laskuaan.</a:t>
            </a:r>
          </a:p>
          <a:p>
            <a:endParaRPr lang="fi-FI" dirty="0"/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9FB9D53A-29BA-4917-A69D-C33A4A728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5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22D1770-AB6E-4312-B195-7F88B9AFA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8AADB30-7758-4072-A27D-92205D017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73167509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Koronakriisi vaikuttanut Suomessakin rajusti tavaravientiin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6</a:t>
            </a:fld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2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/>
              <a:t>Lähde: Tulli, </a:t>
            </a:r>
            <a:r>
              <a:rPr lang="fi-FI" err="1"/>
              <a:t>Macrobond</a:t>
            </a:r>
            <a:endParaRPr lang="fi-FI"/>
          </a:p>
        </p:txBody>
      </p:sp>
      <p:graphicFrame>
        <p:nvGraphicFramePr>
          <p:cNvPr id="6" name="Objekti 5">
            <a:extLst>
              <a:ext uri="{FF2B5EF4-FFF2-40B4-BE49-F238E27FC236}">
                <a16:creationId xmlns:a16="http://schemas.microsoft.com/office/drawing/2014/main" id="{9B48671E-2E56-4727-B509-A9FA651C54D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44520103"/>
              </p:ext>
            </p:extLst>
          </p:nvPr>
        </p:nvGraphicFramePr>
        <p:xfrm>
          <a:off x="388504" y="1071580"/>
          <a:ext cx="8388000" cy="35430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6" name="Objekti 5">
                        <a:extLst>
                          <a:ext uri="{FF2B5EF4-FFF2-40B4-BE49-F238E27FC236}">
                            <a16:creationId xmlns:a16="http://schemas.microsoft.com/office/drawing/2014/main" id="{9B48671E-2E56-4727-B509-A9FA651C5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8504" y="1071580"/>
                        <a:ext cx="8388000" cy="35430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404522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/>
              <a:t>Teollisuustuotannon määrä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7</a:t>
            </a:fld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2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462630" cy="165163"/>
          </a:xfrm>
        </p:spPr>
        <p:txBody>
          <a:bodyPr/>
          <a:lstStyle/>
          <a:p>
            <a:r>
              <a:rPr lang="fi-FI"/>
              <a:t>*) Pl. tietotekniikka-ala ja suunnittelu- ja konsultointiala</a:t>
            </a:r>
          </a:p>
          <a:p>
            <a:r>
              <a:rPr lang="fi-FI"/>
              <a:t>Kausipuhdistetut teollisuustuotannon volyymi-indeksit</a:t>
            </a:r>
          </a:p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Tilastokeskus</a:t>
            </a:r>
          </a:p>
          <a:p>
            <a:endParaRPr lang="fi-FI"/>
          </a:p>
        </p:txBody>
      </p:sp>
      <p:graphicFrame>
        <p:nvGraphicFramePr>
          <p:cNvPr id="18" name="Sisällön paikkamerkki 17">
            <a:extLst>
              <a:ext uri="{FF2B5EF4-FFF2-40B4-BE49-F238E27FC236}">
                <a16:creationId xmlns:a16="http://schemas.microsoft.com/office/drawing/2014/main" id="{5C0EBE92-AFAE-40A8-9E3C-F54339200160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811876523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18" name="Sisällön paikkamerkki 17">
                        <a:extLst>
                          <a:ext uri="{FF2B5EF4-FFF2-40B4-BE49-F238E27FC236}">
                            <a16:creationId xmlns:a16="http://schemas.microsoft.com/office/drawing/2014/main" id="{5C0EBE92-AFAE-40A8-9E3C-F54339200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392101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/>
              <a:t>Teollisuuden ja teknologiateollisuuden liikevaihto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8</a:t>
            </a:fld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2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116547" cy="165163"/>
          </a:xfrm>
        </p:spPr>
        <p:txBody>
          <a:bodyPr/>
          <a:lstStyle/>
          <a:p>
            <a:r>
              <a:rPr lang="fi-FI"/>
              <a:t>Kausipuhdistetut teollisuuden ja palveluiden liikevaihtokuvaajat</a:t>
            </a:r>
          </a:p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Tilastokeskus</a:t>
            </a:r>
          </a:p>
          <a:p>
            <a:endParaRPr lang="fi-FI"/>
          </a:p>
        </p:txBody>
      </p:sp>
      <p:graphicFrame>
        <p:nvGraphicFramePr>
          <p:cNvPr id="9" name="Sisällön paikkamerkki 8"/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283877674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9" name="Sisällön paikkamerkki 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14849149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76FE28C0-EFDC-4114-8945-A88DDBB3C8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136424" cy="648000"/>
          </a:xfrm>
        </p:spPr>
        <p:txBody>
          <a:bodyPr/>
          <a:lstStyle/>
          <a:p>
            <a:r>
              <a:rPr lang="fi-FI" dirty="0"/>
              <a:t>Yritysten arvioiden mukaan vaikeudet alkavat ainakin toistaiseksi olla pääsääntöisesti takanapäin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5C90953A-AAE9-4280-9AB4-C59041B86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9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8118502-4A65-4CD0-AAF3-310F7D0DA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B72A1B6F-6730-4658-A754-C112D841F9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883D252-21AB-4D23-B6AF-A5FD50D048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koronapulssi –jäsenkysely</a:t>
            </a:r>
          </a:p>
          <a:p>
            <a:r>
              <a:rPr lang="fi-FI" dirty="0"/>
              <a:t>23.10.2020 n=496, 7.12.2020 n=532.</a:t>
            </a:r>
          </a:p>
        </p:txBody>
      </p:sp>
      <p:graphicFrame>
        <p:nvGraphicFramePr>
          <p:cNvPr id="8" name="Sisällön paikkamerkki 9">
            <a:extLst>
              <a:ext uri="{FF2B5EF4-FFF2-40B4-BE49-F238E27FC236}">
                <a16:creationId xmlns:a16="http://schemas.microsoft.com/office/drawing/2014/main" id="{D197F15D-450E-4FB4-8981-8146E495A50E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597043967"/>
              </p:ext>
            </p:extLst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kstiruutu 13">
            <a:extLst>
              <a:ext uri="{FF2B5EF4-FFF2-40B4-BE49-F238E27FC236}">
                <a16:creationId xmlns:a16="http://schemas.microsoft.com/office/drawing/2014/main" id="{65054603-5EDB-48DD-ABBD-118DA9B3A626}"/>
              </a:ext>
            </a:extLst>
          </p:cNvPr>
          <p:cNvSpPr txBox="1"/>
          <p:nvPr/>
        </p:nvSpPr>
        <p:spPr>
          <a:xfrm>
            <a:off x="899592" y="1020291"/>
            <a:ext cx="3096344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Osuus yrityksistä, %</a:t>
            </a:r>
          </a:p>
        </p:txBody>
      </p:sp>
    </p:spTree>
    <p:extLst>
      <p:ext uri="{BB962C8B-B14F-4D97-AF65-F5344CB8AC3E}">
        <p14:creationId xmlns:p14="http://schemas.microsoft.com/office/powerpoint/2010/main" val="103876505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jq246uRr.fpeXiHoBE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FlGw2M3j2W7GeiIxL7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Axy0IjQV2fjaelmgls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k4z5ZsIcPyJlOGtPIfg"/>
</p:tagLst>
</file>

<file path=ppt/theme/theme1.xml><?xml version="1.0" encoding="utf-8"?>
<a:theme xmlns:a="http://schemas.openxmlformats.org/drawingml/2006/main" name="Teknologiateollisuus_masterdia">
  <a:themeElements>
    <a:clrScheme name="Teknologiateollisuus">
      <a:dk1>
        <a:srgbClr val="29282E"/>
      </a:dk1>
      <a:lt1>
        <a:srgbClr val="FFFFFF"/>
      </a:lt1>
      <a:dk2>
        <a:srgbClr val="29282E"/>
      </a:dk2>
      <a:lt2>
        <a:srgbClr val="FFFFFF"/>
      </a:lt2>
      <a:accent1>
        <a:srgbClr val="0070C0"/>
      </a:accent1>
      <a:accent2>
        <a:srgbClr val="FF00B8"/>
      </a:accent2>
      <a:accent3>
        <a:srgbClr val="85E869"/>
      </a:accent3>
      <a:accent4>
        <a:srgbClr val="FF805C"/>
      </a:accent4>
      <a:accent5>
        <a:srgbClr val="8A0FA6"/>
      </a:accent5>
      <a:accent6>
        <a:srgbClr val="FFFF00"/>
      </a:accent6>
      <a:hlink>
        <a:srgbClr val="0ACFCF"/>
      </a:hlink>
      <a:folHlink>
        <a:srgbClr val="0ACFCF"/>
      </a:folHlink>
    </a:clrScheme>
    <a:fontScheme name="Teknologiateollisu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pc="-4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kno_FI_2016" id="{20EA1341-EE32-433B-BC03-FE23A0136C67}" vid="{91854BC2-7349-49C3-92B6-AE41D831ABA0}"/>
    </a:ext>
  </a:extLst>
</a:theme>
</file>

<file path=ppt/theme/theme2.xml><?xml version="1.0" encoding="utf-8"?>
<a:theme xmlns:a="http://schemas.openxmlformats.org/drawingml/2006/main" name="1_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200305 Strategic BD approach for Nordics MU - FOR DISCUSSION - v2  -  Read-Only" id="{AA9A4D4A-1FF2-4B35-AF13-9182F4DAE34F}" vid="{51B938EA-64D2-4EA8-B1E9-1C8E57B71BC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bac22dd-7d9e-4fa2-b7ec-a5c21bf72213">
      <UserInfo>
        <DisplayName>Forsman Daniel</DisplayName>
        <AccountId>38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F6F48CDA7D6D464381381BB208CA1D6C" ma:contentTypeVersion="12" ma:contentTypeDescription="Luo uusi asiakirja." ma:contentTypeScope="" ma:versionID="dff0f588cb63e7e7e9166c332bd8f0aa">
  <xsd:schema xmlns:xsd="http://www.w3.org/2001/XMLSchema" xmlns:xs="http://www.w3.org/2001/XMLSchema" xmlns:p="http://schemas.microsoft.com/office/2006/metadata/properties" xmlns:ns3="ea42a611-2638-46bb-b3e3-6e898d1a3c87" xmlns:ns4="9bac22dd-7d9e-4fa2-b7ec-a5c21bf72213" targetNamespace="http://schemas.microsoft.com/office/2006/metadata/properties" ma:root="true" ma:fieldsID="2b09aa220a591641e2e32e01777f619f" ns3:_="" ns4:_="">
    <xsd:import namespace="ea42a611-2638-46bb-b3e3-6e898d1a3c87"/>
    <xsd:import namespace="9bac22dd-7d9e-4fa2-b7ec-a5c21bf7221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42a611-2638-46bb-b3e3-6e898d1a3c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ac22dd-7d9e-4fa2-b7ec-a5c21bf7221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Jakamisvihjeen hajautus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3AC004-C085-4D53-BC3A-BFB6D15CF16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ea42a611-2638-46bb-b3e3-6e898d1a3c87"/>
    <ds:schemaRef ds:uri="http://purl.org/dc/elements/1.1/"/>
    <ds:schemaRef ds:uri="http://schemas.microsoft.com/office/2006/metadata/properties"/>
    <ds:schemaRef ds:uri="9bac22dd-7d9e-4fa2-b7ec-a5c21bf72213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159B844-F195-4D26-97DD-6E2B728D2A0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76A1306-01E7-475C-A14F-300FF6C6B85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a42a611-2638-46bb-b3e3-6e898d1a3c87"/>
    <ds:schemaRef ds:uri="9bac22dd-7d9e-4fa2-b7ec-a5c21bf7221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589</TotalTime>
  <Words>840</Words>
  <Application>Microsoft Office PowerPoint</Application>
  <PresentationFormat>Näytössä katseltava esitys (16:9)</PresentationFormat>
  <Paragraphs>214</Paragraphs>
  <Slides>18</Slides>
  <Notes>7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2</vt:i4>
      </vt:variant>
      <vt:variant>
        <vt:lpstr>Dian otsikot</vt:lpstr>
      </vt:variant>
      <vt:variant>
        <vt:i4>18</vt:i4>
      </vt:variant>
    </vt:vector>
  </HeadingPairs>
  <TitlesOfParts>
    <vt:vector size="26" baseType="lpstr">
      <vt:lpstr>Arial</vt:lpstr>
      <vt:lpstr>Arial Black</vt:lpstr>
      <vt:lpstr>Arial Bold</vt:lpstr>
      <vt:lpstr>Verdana</vt:lpstr>
      <vt:lpstr>Teknologiateollisuus_masterdia</vt:lpstr>
      <vt:lpstr>1_Accenture aug2016</vt:lpstr>
      <vt:lpstr>think-cell Slide</vt:lpstr>
      <vt:lpstr>Macrobond document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Rautaporras Petteri</dc:creator>
  <cp:keywords>Teknologiateollisuus_FI</cp:keywords>
  <cp:lastModifiedBy>Kaijomaa Helvi</cp:lastModifiedBy>
  <cp:revision>82</cp:revision>
  <cp:lastPrinted>2020-08-06T06:12:28Z</cp:lastPrinted>
  <dcterms:created xsi:type="dcterms:W3CDTF">2019-10-17T09:08:24Z</dcterms:created>
  <dcterms:modified xsi:type="dcterms:W3CDTF">2021-02-04T09:45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kameleonVerID">
    <vt:lpwstr>482.21.02.003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Tekno_fi.potx</vt:lpwstr>
  </property>
  <property fmtid="{D5CDD505-2E9C-101B-9397-08002B2CF9AE}" pid="6" name="dvDefinition">
    <vt:lpwstr>23 (dd_default.xml)</vt:lpwstr>
  </property>
  <property fmtid="{D5CDD505-2E9C-101B-9397-08002B2CF9AE}" pid="7" name="dvDefinitionID">
    <vt:lpwstr>23</vt:lpwstr>
  </property>
  <property fmtid="{D5CDD505-2E9C-101B-9397-08002B2CF9AE}" pid="8" name="dvContentFile">
    <vt:lpwstr>dd_default.xml</vt:lpwstr>
  </property>
  <property fmtid="{D5CDD505-2E9C-101B-9397-08002B2CF9AE}" pid="9" name="dvGlobalVerID">
    <vt:lpwstr>482.90.02.003</vt:lpwstr>
  </property>
  <property fmtid="{D5CDD505-2E9C-101B-9397-08002B2CF9AE}" pid="10" name="dvDefinitionVersion">
    <vt:lpwstr>2.1 / 22.1.2015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1</vt:lpwstr>
  </property>
  <property fmtid="{D5CDD505-2E9C-101B-9397-08002B2CF9AE}" pid="15" name="dvDateExist">
    <vt:lpwstr>-1</vt:lpwstr>
  </property>
  <property fmtid="{D5CDD505-2E9C-101B-9397-08002B2CF9AE}" pid="16" name="dvCategory">
    <vt:lpwstr>4</vt:lpwstr>
  </property>
  <property fmtid="{D5CDD505-2E9C-101B-9397-08002B2CF9AE}" pid="17" name="dvCategory_2">
    <vt:lpwstr>0</vt:lpwstr>
  </property>
  <property fmtid="{D5CDD505-2E9C-101B-9397-08002B2CF9AE}" pid="18" name="dvSavepath">
    <vt:lpwstr/>
  </property>
  <property fmtid="{D5CDD505-2E9C-101B-9397-08002B2CF9AE}" pid="19" name="dvUsed">
    <vt:lpwstr>1</vt:lpwstr>
  </property>
  <property fmtid="{D5CDD505-2E9C-101B-9397-08002B2CF9AE}" pid="20" name="dvCompany">
    <vt:lpwstr/>
  </property>
  <property fmtid="{D5CDD505-2E9C-101B-9397-08002B2CF9AE}" pid="21" name="dvSite">
    <vt:lpwstr/>
  </property>
  <property fmtid="{D5CDD505-2E9C-101B-9397-08002B2CF9AE}" pid="22" name="dvNumbering">
    <vt:lpwstr>0</vt:lpwstr>
  </property>
  <property fmtid="{D5CDD505-2E9C-101B-9397-08002B2CF9AE}" pid="23" name="dvDUname">
    <vt:lpwstr>Nora Elers</vt:lpwstr>
  </property>
  <property fmtid="{D5CDD505-2E9C-101B-9397-08002B2CF9AE}" pid="24" name="dvDUdepartment">
    <vt:lpwstr/>
  </property>
  <property fmtid="{D5CDD505-2E9C-101B-9397-08002B2CF9AE}" pid="25" name="dvLogoExist">
    <vt:lpwstr>0</vt:lpwstr>
  </property>
  <property fmtid="{D5CDD505-2E9C-101B-9397-08002B2CF9AE}" pid="26" name="dvCurrentlogo">
    <vt:lpwstr/>
  </property>
  <property fmtid="{D5CDD505-2E9C-101B-9397-08002B2CF9AE}" pid="27" name="ContentTypeId">
    <vt:lpwstr>0x010100F6F48CDA7D6D464381381BB208CA1D6C</vt:lpwstr>
  </property>
  <property fmtid="{D5CDD505-2E9C-101B-9397-08002B2CF9AE}" pid="28" name="TyoryhmanNimi">
    <vt:lpwstr>Talous ja tilastot</vt:lpwstr>
  </property>
</Properties>
</file>